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77.xml" ContentType="application/vnd.openxmlformats-officedocument.presentationml.tags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96" r:id="rId4"/>
    <p:sldMasterId id="2147483697" r:id="rId5"/>
    <p:sldMasterId id="2147483731" r:id="rId6"/>
  </p:sldMasterIdLst>
  <p:notesMasterIdLst>
    <p:notesMasterId r:id="rId24"/>
  </p:notesMasterIdLst>
  <p:sldIdLst>
    <p:sldId id="256" r:id="rId7"/>
    <p:sldId id="281" r:id="rId8"/>
    <p:sldId id="280" r:id="rId9"/>
    <p:sldId id="259" r:id="rId10"/>
    <p:sldId id="260" r:id="rId11"/>
    <p:sldId id="261" r:id="rId12"/>
    <p:sldId id="263" r:id="rId13"/>
    <p:sldId id="278" r:id="rId14"/>
    <p:sldId id="266" r:id="rId15"/>
    <p:sldId id="267" r:id="rId16"/>
    <p:sldId id="268" r:id="rId17"/>
    <p:sldId id="269" r:id="rId18"/>
    <p:sldId id="270" r:id="rId19"/>
    <p:sldId id="279" r:id="rId20"/>
    <p:sldId id="272" r:id="rId21"/>
    <p:sldId id="274" r:id="rId22"/>
    <p:sldId id="273" r:id="rId23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05AE0C-D0CD-E819-38AB-7E094AB11AB2}" name="Md Imtiaz Khan (IN)" initials="M(" userId="S::md.imtiaz.khan@pwc.com::32b49fa1-7ac9-4c28-989a-0f229a842020" providerId="AD"/>
  <p188:author id="{5A41E038-0CF2-04AC-286D-D63C9DEE2FFB}" name="Adil Reza (IN)" initials="AR(" userId="S::adil.reza@pwc.com::e5996849-9ccd-4d73-84c1-450cbcedb57d" providerId="AD"/>
  <p188:author id="{0A39B73B-D62F-17BD-FF9C-629593155D2A}" name="Pramod Mishra (IN)" initials="P(" userId="S::pramod.mishra@pwc.com::913ff03e-b6fe-4d49-9469-b68d9bee786f" providerId="AD"/>
  <p188:author id="{96B3916B-74EB-1C4A-65FA-336111D6E52E}" name="Kaushik Das (IN)" initials="K(" userId="S::kaushik.das@pwc.com::8f4d9eac-b7db-472e-a6e8-3f4dab90766c" providerId="AD"/>
  <p188:author id="{1B985CB6-1714-D0C3-C9E7-6C76CA210A60}" name="Pramod Mishra (IN)" initials="" userId="Anonymous_Pramod Mishra (IN)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ramod Mishra (IN)" initials="" lastIdx="6" clrIdx="0"/>
  <p:cmAuthor id="1" name="Kaushik Das (IN)" initials="K(" lastIdx="2" clrIdx="1">
    <p:extLst>
      <p:ext uri="{19B8F6BF-5375-455C-9EA6-DF929625EA0E}">
        <p15:presenceInfo xmlns:p15="http://schemas.microsoft.com/office/powerpoint/2012/main" userId="S::kaushik.das@pwc.com::8f4d9eac-b7db-472e-a6e8-3f4dab9076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347B7C-C748-C59E-8FD8-AEB90D18DC8F}" v="721" dt="2022-02-01T12:49:44.367"/>
    <p1510:client id="{1BC35368-16E0-F950-7262-EB2A34A2CC26}" v="4" dt="2022-02-01T13:14:22.167"/>
    <p1510:client id="{26283BBE-E2A9-0762-F405-BE4EFBBF7A9A}" v="1" dt="2022-02-02T05:24:47.924"/>
    <p1510:client id="{2D575AD4-F79E-31FF-C5F0-56EA61FC3DA4}" v="3" dt="2022-02-02T05:09:02.241"/>
    <p1510:client id="{75B55944-7CA1-4C1E-BD86-B9F9B621E09F}" v="10" dt="2022-02-01T11:56:15.627"/>
    <p1510:client id="{AF3AAC77-19FF-F82D-546B-34A608F3DA26}" v="16" dt="2022-02-02T05:32:37.188"/>
    <p1510:client id="{D54AB085-166E-7A2F-9C2B-33B161125897}" v="517" dt="2022-02-01T12:52:10.438"/>
    <p1510:client id="{DA0F4D0A-9E63-47AF-8826-27D035EFB859}" v="68" dt="2022-02-02T05:50:36.437"/>
  </p1510:revLst>
</p1510:revInfo>
</file>

<file path=ppt/tableStyles.xml><?xml version="1.0" encoding="utf-8"?>
<a:tblStyleLst xmlns:a="http://schemas.openxmlformats.org/drawingml/2006/main" def="{138FC49D-41CE-431F-BCC3-1BE31633B46E}">
  <a:tblStyle styleId="{138FC49D-41CE-431F-BCC3-1BE31633B46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gd1c54737c9_2_2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613" y="739775"/>
            <a:ext cx="6569075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6" name="Google Shape;346;gd1c54737c9_2_29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7" name="Google Shape;347;gd1c54737c9_2_29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gd1c54737c9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0" name="Google Shape;610;gd1c54737c9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Google Shape;616;gd1c54737c9_0_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17" name="Google Shape;617;gd1c54737c9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gd1c54737c9_0_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24" name="Google Shape;624;gd1c54737c9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d1c54737c9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31" name="Google Shape;631;gd1c54737c9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d1c54737c9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31" name="Google Shape;631;gd1c54737c9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597119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d1c54737c9_2_5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45" name="Google Shape;645;gd1c54737c9_2_5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" name="Google Shape;660;gd1c54737c9_2_60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61" name="Google Shape;661;gd1c54737c9_2_6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076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Google Shape;901;gde6a365239_1_4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2" name="Google Shape;902;gde6a365239_1_4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3" name="Google Shape;903;gde6a365239_1_49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" name="Google Shape;944;gde6a365239_1_5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5" name="Google Shape;945;gde6a365239_1_5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6" name="Google Shape;946;gde6a365239_1_53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gd1c54737c9_2_3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0" name="Google Shape;430;gd1c54737c9_2_3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Google Shape;470;gd1c54737c9_2_4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1" name="Google Shape;471;gd1c54737c9_2_4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" name="Google Shape;516;gd1c54737c9_2_4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4613" y="739775"/>
            <a:ext cx="6569075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17" name="Google Shape;517;gd1c54737c9_2_46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8" name="Google Shape;518;gd1c54737c9_2_46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gd1c54737c9_2_5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38" name="Google Shape;538;gd1c54737c9_2_5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Google Shape;562;gd1c54737c9_2_5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63" name="Google Shape;563;gd1c54737c9_2_5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584464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Google Shape;602;gd1c54737c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03" name="Google Shape;603;gd1c54737c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6.png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0" Type="http://schemas.openxmlformats.org/officeDocument/2006/relationships/tags" Target="../tags/tag159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2.xml"/><Relationship Id="rId7" Type="http://schemas.openxmlformats.org/officeDocument/2006/relationships/image" Target="../media/image7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4.xml"/><Relationship Id="rId4" Type="http://schemas.openxmlformats.org/officeDocument/2006/relationships/tags" Target="../tags/tag21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7.xml"/><Relationship Id="rId7" Type="http://schemas.openxmlformats.org/officeDocument/2006/relationships/image" Target="../media/image7.pn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8.png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4.xml"/><Relationship Id="rId4" Type="http://schemas.openxmlformats.org/officeDocument/2006/relationships/tags" Target="../tags/tag22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5" Type="http://schemas.openxmlformats.org/officeDocument/2006/relationships/tags" Target="../tags/tag229.xml"/><Relationship Id="rId4" Type="http://schemas.openxmlformats.org/officeDocument/2006/relationships/tags" Target="../tags/tag228.xml"/><Relationship Id="rId9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4" Type="http://schemas.openxmlformats.org/officeDocument/2006/relationships/tags" Target="../tags/tag235.xml"/><Relationship Id="rId9" Type="http://schemas.openxmlformats.org/officeDocument/2006/relationships/image" Target="../media/image8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4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6.pn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5.emf"/><Relationship Id="rId2" Type="http://schemas.openxmlformats.org/officeDocument/2006/relationships/tags" Target="../tags/tag24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1.xml"/><Relationship Id="rId11" Type="http://schemas.openxmlformats.org/officeDocument/2006/relationships/oleObject" Target="../embeddings/oleObject4.bin"/><Relationship Id="rId5" Type="http://schemas.openxmlformats.org/officeDocument/2006/relationships/tags" Target="../tags/tag25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49.xml"/><Relationship Id="rId9" Type="http://schemas.openxmlformats.org/officeDocument/2006/relationships/tags" Target="../tags/tag25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5" Type="http://schemas.openxmlformats.org/officeDocument/2006/relationships/tags" Target="../tags/tag259.xml"/><Relationship Id="rId10" Type="http://schemas.openxmlformats.org/officeDocument/2006/relationships/image" Target="../media/image6.png"/><Relationship Id="rId4" Type="http://schemas.openxmlformats.org/officeDocument/2006/relationships/tags" Target="../tags/tag258.xml"/><Relationship Id="rId9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13" Type="http://schemas.openxmlformats.org/officeDocument/2006/relationships/tags" Target="../tags/tag275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tags" Target="../tags/tag274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tags" Target="../tags/tag273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Relationship Id="rId14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tags" Target="../tags/tag288.xml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5" Type="http://schemas.openxmlformats.org/officeDocument/2006/relationships/tags" Target="../tags/tag280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285.xml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tags" Target="../tags/tag289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tags" Target="../tags/tag29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94.xml"/><Relationship Id="rId10" Type="http://schemas.openxmlformats.org/officeDocument/2006/relationships/tags" Target="../tags/tag299.xml"/><Relationship Id="rId4" Type="http://schemas.openxmlformats.org/officeDocument/2006/relationships/tags" Target="../tags/tag293.xml"/><Relationship Id="rId9" Type="http://schemas.openxmlformats.org/officeDocument/2006/relationships/tags" Target="../tags/tag298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5" Type="http://schemas.openxmlformats.org/officeDocument/2006/relationships/tags" Target="../tags/tag304.xml"/><Relationship Id="rId10" Type="http://schemas.openxmlformats.org/officeDocument/2006/relationships/tags" Target="../tags/tag309.xml"/><Relationship Id="rId4" Type="http://schemas.openxmlformats.org/officeDocument/2006/relationships/tags" Target="../tags/tag303.xml"/><Relationship Id="rId9" Type="http://schemas.openxmlformats.org/officeDocument/2006/relationships/tags" Target="../tags/tag308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11" Type="http://schemas.openxmlformats.org/officeDocument/2006/relationships/tags" Target="../tags/tag321.xml"/><Relationship Id="rId5" Type="http://schemas.openxmlformats.org/officeDocument/2006/relationships/tags" Target="../tags/tag315.xml"/><Relationship Id="rId10" Type="http://schemas.openxmlformats.org/officeDocument/2006/relationships/tags" Target="../tags/tag320.xml"/><Relationship Id="rId4" Type="http://schemas.openxmlformats.org/officeDocument/2006/relationships/tags" Target="../tags/tag314.xml"/><Relationship Id="rId9" Type="http://schemas.openxmlformats.org/officeDocument/2006/relationships/tags" Target="../tags/tag319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0" Type="http://schemas.openxmlformats.org/officeDocument/2006/relationships/tags" Target="../tags/tag331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tags" Target="../tags/tag345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11" Type="http://schemas.openxmlformats.org/officeDocument/2006/relationships/tags" Target="../tags/tag344.xml"/><Relationship Id="rId5" Type="http://schemas.openxmlformats.org/officeDocument/2006/relationships/tags" Target="../tags/tag338.xml"/><Relationship Id="rId10" Type="http://schemas.openxmlformats.org/officeDocument/2006/relationships/tags" Target="../tags/tag343.xml"/><Relationship Id="rId4" Type="http://schemas.openxmlformats.org/officeDocument/2006/relationships/tags" Target="../tags/tag337.xml"/><Relationship Id="rId9" Type="http://schemas.openxmlformats.org/officeDocument/2006/relationships/tags" Target="../tags/tag34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tags" Target="../tags/tag357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tags" Target="../tags/tag356.xml"/><Relationship Id="rId5" Type="http://schemas.openxmlformats.org/officeDocument/2006/relationships/tags" Target="../tags/tag350.xml"/><Relationship Id="rId10" Type="http://schemas.openxmlformats.org/officeDocument/2006/relationships/tags" Target="../tags/tag355.xml"/><Relationship Id="rId4" Type="http://schemas.openxmlformats.org/officeDocument/2006/relationships/tags" Target="../tags/tag349.xml"/><Relationship Id="rId9" Type="http://schemas.openxmlformats.org/officeDocument/2006/relationships/tags" Target="../tags/tag35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365.xml"/><Relationship Id="rId3" Type="http://schemas.openxmlformats.org/officeDocument/2006/relationships/tags" Target="../tags/tag360.xml"/><Relationship Id="rId7" Type="http://schemas.openxmlformats.org/officeDocument/2006/relationships/tags" Target="../tags/tag364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tags" Target="../tags/tag363.xml"/><Relationship Id="rId5" Type="http://schemas.openxmlformats.org/officeDocument/2006/relationships/tags" Target="../tags/tag36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61.xml"/><Relationship Id="rId9" Type="http://schemas.openxmlformats.org/officeDocument/2006/relationships/tags" Target="../tags/tag36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8.xml"/><Relationship Id="rId1" Type="http://schemas.openxmlformats.org/officeDocument/2006/relationships/tags" Target="../tags/tag36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0.xml"/><Relationship Id="rId1" Type="http://schemas.openxmlformats.org/officeDocument/2006/relationships/tags" Target="../tags/tag369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tags" Target="../tags/tag376.xml"/><Relationship Id="rId5" Type="http://schemas.openxmlformats.org/officeDocument/2006/relationships/tags" Target="../tags/tag37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4.xml"/><Relationship Id="rId9" Type="http://schemas.openxmlformats.org/officeDocument/2006/relationships/tags" Target="../tags/tag379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13" Type="http://schemas.openxmlformats.org/officeDocument/2006/relationships/tags" Target="../tags/tag400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12" Type="http://schemas.openxmlformats.org/officeDocument/2006/relationships/tags" Target="../tags/tag399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tags" Target="../tags/tag398.xml"/><Relationship Id="rId5" Type="http://schemas.openxmlformats.org/officeDocument/2006/relationships/tags" Target="../tags/tag392.xml"/><Relationship Id="rId10" Type="http://schemas.openxmlformats.org/officeDocument/2006/relationships/tags" Target="../tags/tag397.xml"/><Relationship Id="rId4" Type="http://schemas.openxmlformats.org/officeDocument/2006/relationships/tags" Target="../tags/tag391.xml"/><Relationship Id="rId9" Type="http://schemas.openxmlformats.org/officeDocument/2006/relationships/tags" Target="../tags/tag396.xml"/><Relationship Id="rId14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05.xml"/><Relationship Id="rId10" Type="http://schemas.openxmlformats.org/officeDocument/2006/relationships/tags" Target="../tags/tag410.xml"/><Relationship Id="rId4" Type="http://schemas.openxmlformats.org/officeDocument/2006/relationships/tags" Target="../tags/tag404.xml"/><Relationship Id="rId9" Type="http://schemas.openxmlformats.org/officeDocument/2006/relationships/tags" Target="../tags/tag409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418.xml"/><Relationship Id="rId3" Type="http://schemas.openxmlformats.org/officeDocument/2006/relationships/tags" Target="../tags/tag413.xml"/><Relationship Id="rId7" Type="http://schemas.openxmlformats.org/officeDocument/2006/relationships/tags" Target="../tags/tag417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14.xml"/><Relationship Id="rId9" Type="http://schemas.openxmlformats.org/officeDocument/2006/relationships/tags" Target="../tags/tag419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3" Type="http://schemas.openxmlformats.org/officeDocument/2006/relationships/tags" Target="../tags/tag422.xml"/><Relationship Id="rId7" Type="http://schemas.openxmlformats.org/officeDocument/2006/relationships/tags" Target="../tags/tag426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23.xml"/><Relationship Id="rId9" Type="http://schemas.openxmlformats.org/officeDocument/2006/relationships/tags" Target="../tags/tag42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tags" Target="../tags/tag434.xml"/><Relationship Id="rId5" Type="http://schemas.openxmlformats.org/officeDocument/2006/relationships/tags" Target="../tags/tag43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32.xml"/><Relationship Id="rId9" Type="http://schemas.openxmlformats.org/officeDocument/2006/relationships/tags" Target="../tags/tag43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445.xml"/><Relationship Id="rId3" Type="http://schemas.openxmlformats.org/officeDocument/2006/relationships/tags" Target="../tags/tag440.xml"/><Relationship Id="rId7" Type="http://schemas.openxmlformats.org/officeDocument/2006/relationships/tags" Target="../tags/tag444.xml"/><Relationship Id="rId2" Type="http://schemas.openxmlformats.org/officeDocument/2006/relationships/tags" Target="../tags/tag439.xml"/><Relationship Id="rId1" Type="http://schemas.openxmlformats.org/officeDocument/2006/relationships/tags" Target="../tags/tag438.xml"/><Relationship Id="rId6" Type="http://schemas.openxmlformats.org/officeDocument/2006/relationships/tags" Target="../tags/tag443.xml"/><Relationship Id="rId5" Type="http://schemas.openxmlformats.org/officeDocument/2006/relationships/tags" Target="../tags/tag44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41.xml"/><Relationship Id="rId9" Type="http://schemas.openxmlformats.org/officeDocument/2006/relationships/tags" Target="../tags/tag44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7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50.xml"/><Relationship Id="rId7" Type="http://schemas.openxmlformats.org/officeDocument/2006/relationships/image" Target="../media/image7.png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52.xml"/><Relationship Id="rId4" Type="http://schemas.openxmlformats.org/officeDocument/2006/relationships/tags" Target="../tags/tag451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55.xml"/><Relationship Id="rId7" Type="http://schemas.openxmlformats.org/officeDocument/2006/relationships/image" Target="../media/image7.pn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57.xml"/><Relationship Id="rId4" Type="http://schemas.openxmlformats.org/officeDocument/2006/relationships/tags" Target="../tags/tag45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7" Type="http://schemas.openxmlformats.org/officeDocument/2006/relationships/image" Target="../media/image8.pn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62.xml"/><Relationship Id="rId4" Type="http://schemas.openxmlformats.org/officeDocument/2006/relationships/tags" Target="../tags/tag461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tags" Target="../tags/tag468.xml"/><Relationship Id="rId5" Type="http://schemas.openxmlformats.org/officeDocument/2006/relationships/tags" Target="../tags/tag467.xml"/><Relationship Id="rId4" Type="http://schemas.openxmlformats.org/officeDocument/2006/relationships/tags" Target="../tags/tag466.xml"/><Relationship Id="rId9" Type="http://schemas.openxmlformats.org/officeDocument/2006/relationships/image" Target="../media/image8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4" Type="http://schemas.openxmlformats.org/officeDocument/2006/relationships/tags" Target="../tags/tag473.xml"/><Relationship Id="rId9" Type="http://schemas.openxmlformats.org/officeDocument/2006/relationships/image" Target="../media/image8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>
  <p:cSld name="1_Title Slide 1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/>
          <p:nvPr/>
        </p:nvSpPr>
        <p:spPr>
          <a:xfrm>
            <a:off x="6607204" y="1"/>
            <a:ext cx="2536795" cy="51432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9" name="Google Shape;59;p14"/>
          <p:cNvSpPr/>
          <p:nvPr/>
        </p:nvSpPr>
        <p:spPr>
          <a:xfrm>
            <a:off x="1" y="0"/>
            <a:ext cx="7943294" cy="36455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60" name="Google Shape;60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3441" y="-1"/>
            <a:ext cx="3050559" cy="4882700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14"/>
          <p:cNvSpPr txBox="1">
            <a:spLocks noGrp="1"/>
          </p:cNvSpPr>
          <p:nvPr>
            <p:ph type="ctrTitle"/>
          </p:nvPr>
        </p:nvSpPr>
        <p:spPr>
          <a:xfrm>
            <a:off x="457201" y="342900"/>
            <a:ext cx="3980259" cy="1885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eorgia"/>
              <a:buNone/>
              <a:defRPr sz="33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4"/>
          <p:cNvSpPr txBox="1">
            <a:spLocks noGrp="1"/>
          </p:cNvSpPr>
          <p:nvPr>
            <p:ph type="subTitle" idx="1"/>
          </p:nvPr>
        </p:nvSpPr>
        <p:spPr>
          <a:xfrm>
            <a:off x="457200" y="2811780"/>
            <a:ext cx="3980260" cy="445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63" name="Google Shape;63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0876" y="3998214"/>
            <a:ext cx="1227582" cy="1013389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64;p14"/>
          <p:cNvSpPr/>
          <p:nvPr/>
        </p:nvSpPr>
        <p:spPr>
          <a:xfrm>
            <a:off x="6093440" y="3645591"/>
            <a:ext cx="3050558" cy="1497909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13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Dark">
  <p:cSld name="One Column Content Dark">
    <p:bg>
      <p:bgPr>
        <a:solidFill>
          <a:srgbClr val="464646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23"/>
          <p:cNvSpPr txBox="1">
            <a:spLocks noGrp="1"/>
          </p:cNvSpPr>
          <p:nvPr>
            <p:ph type="body" idx="1"/>
          </p:nvPr>
        </p:nvSpPr>
        <p:spPr>
          <a:xfrm>
            <a:off x="332186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8pPr>
            <a:lvl9pPr marL="4114800" lvl="8" indent="-3048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8" name="Google Shape;118;p23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3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3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2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72"/>
          <p:cNvSpPr txBox="1">
            <a:spLocks noGrp="1"/>
          </p:cNvSpPr>
          <p:nvPr>
            <p:ph type="body" idx="1"/>
          </p:nvPr>
        </p:nvSpPr>
        <p:spPr>
          <a:xfrm>
            <a:off x="332185" y="1577341"/>
            <a:ext cx="5563790" cy="305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892" lvl="0" indent="-1714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685783" lvl="1" indent="-171446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028675" lvl="2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566" lvl="3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457" lvl="4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348" lvl="5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2400240" lvl="6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132" lvl="7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3086023" lvl="8" indent="-257168"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6B7ECC-C278-4A47-A8F0-A437D82071F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E340CC-4EB5-45A7-84FF-732317818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31478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711" y="895324"/>
            <a:ext cx="3289381" cy="994172"/>
          </a:xfrm>
        </p:spPr>
        <p:txBody>
          <a:bodyPr anchor="b">
            <a:normAutofit/>
          </a:bodyPr>
          <a:lstStyle>
            <a:lvl1pPr algn="r">
              <a:defRPr sz="30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3711" y="1974253"/>
            <a:ext cx="3289381" cy="251817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03112" y="1905397"/>
            <a:ext cx="2284727" cy="287062"/>
          </a:xfrm>
        </p:spPr>
        <p:txBody>
          <a:bodyPr lIns="0" anchor="b">
            <a:normAutofit/>
          </a:bodyPr>
          <a:lstStyle>
            <a:lvl1pPr marL="0" indent="0">
              <a:buNone/>
              <a:defRPr sz="1200" b="1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7205" y="1905397"/>
            <a:ext cx="2267362" cy="287062"/>
          </a:xfrm>
        </p:spPr>
        <p:txBody>
          <a:bodyPr vert="horz" lIns="0" tIns="45720" rIns="91440" bIns="45720" rtlCol="0" anchor="b">
            <a:normAutofit/>
          </a:bodyPr>
          <a:lstStyle>
            <a:lvl1pPr>
              <a:defRPr lang="en-US" sz="1200" b="1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/>
              <a:t>Click to add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2894" y="2208610"/>
            <a:ext cx="2284810" cy="2283619"/>
          </a:xfrm>
        </p:spPr>
        <p:txBody>
          <a:bodyPr lIns="0" tIns="72000"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825">
                <a:latin typeface="+mn-lt"/>
              </a:defRPr>
            </a:lvl3pPr>
            <a:lvl4pPr>
              <a:defRPr sz="788">
                <a:latin typeface="+mn-lt"/>
              </a:defRPr>
            </a:lvl4pPr>
            <a:lvl5pPr>
              <a:defRPr sz="788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205" y="2208610"/>
            <a:ext cx="2267362" cy="2283619"/>
          </a:xfrm>
        </p:spPr>
        <p:txBody>
          <a:bodyPr lIns="0" tIns="72000"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825">
                <a:latin typeface="+mn-lt"/>
              </a:defRPr>
            </a:lvl3pPr>
            <a:lvl4pPr>
              <a:defRPr sz="788">
                <a:latin typeface="+mn-lt"/>
              </a:defRPr>
            </a:lvl4pPr>
            <a:lvl5pPr>
              <a:defRPr sz="788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23428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3705640"/>
            <a:ext cx="9144000" cy="14378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86" y="321469"/>
            <a:ext cx="4105274" cy="1821656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5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2184" y="3944700"/>
            <a:ext cx="8479632" cy="1088708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E38915-9703-4A26-8201-0DA9C11C45AC}"/>
              </a:ext>
            </a:extLst>
          </p:cNvPr>
          <p:cNvSpPr txBox="1"/>
          <p:nvPr userDrawn="1"/>
        </p:nvSpPr>
        <p:spPr>
          <a:xfrm>
            <a:off x="332185" y="3328986"/>
            <a:ext cx="4105274" cy="2553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00">
                <a:solidFill>
                  <a:schemeClr val="tx1"/>
                </a:solidFill>
              </a:rPr>
              <a:t>pwc.in</a:t>
            </a:r>
          </a:p>
        </p:txBody>
      </p:sp>
    </p:spTree>
    <p:extLst>
      <p:ext uri="{BB962C8B-B14F-4D97-AF65-F5344CB8AC3E}">
        <p14:creationId xmlns:p14="http://schemas.microsoft.com/office/powerpoint/2010/main" val="3969489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4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4105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24"/>
          <p:cNvSpPr txBox="1">
            <a:spLocks noGrp="1"/>
          </p:cNvSpPr>
          <p:nvPr>
            <p:ph type="body" idx="2"/>
          </p:nvPr>
        </p:nvSpPr>
        <p:spPr>
          <a:xfrm>
            <a:off x="4706541" y="1577578"/>
            <a:ext cx="4105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4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27" name="Google Shape;127;p24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24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- Subtitle">
  <p:cSld name="Two Content - Subtitl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5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4105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25"/>
          <p:cNvSpPr txBox="1">
            <a:spLocks noGrp="1"/>
          </p:cNvSpPr>
          <p:nvPr>
            <p:ph type="body" idx="2"/>
          </p:nvPr>
        </p:nvSpPr>
        <p:spPr>
          <a:xfrm>
            <a:off x="4706541" y="1577578"/>
            <a:ext cx="4105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25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5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34" name="Google Shape;134;p25"/>
          <p:cNvSpPr txBox="1">
            <a:spLocks noGrp="1"/>
          </p:cNvSpPr>
          <p:nvPr>
            <p:ph type="subTitle" idx="3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35" name="Google Shape;135;p25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25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">
  <p:cSld name="Content and Image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26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139" name="Google Shape;139;p26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3988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26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3988350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42" name="Google Shape;142;p26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26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 - Subtitle">
  <p:cSld name="Content and Image - Subtitle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7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146" name="Google Shape;146;p27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398835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27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398835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27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49" name="Google Shape;149;p27"/>
          <p:cNvSpPr txBox="1">
            <a:spLocks noGrp="1"/>
          </p:cNvSpPr>
          <p:nvPr>
            <p:ph type="subTitle" idx="3"/>
          </p:nvPr>
        </p:nvSpPr>
        <p:spPr>
          <a:xfrm>
            <a:off x="332184" y="700075"/>
            <a:ext cx="3988350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50" name="Google Shape;150;p27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7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8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8"/>
          <p:cNvSpPr txBox="1">
            <a:spLocks noGrp="1"/>
          </p:cNvSpPr>
          <p:nvPr>
            <p:ph type="body" idx="2"/>
          </p:nvPr>
        </p:nvSpPr>
        <p:spPr>
          <a:xfrm>
            <a:off x="3249216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28"/>
          <p:cNvSpPr txBox="1">
            <a:spLocks noGrp="1"/>
          </p:cNvSpPr>
          <p:nvPr>
            <p:ph type="body" idx="3"/>
          </p:nvPr>
        </p:nvSpPr>
        <p:spPr>
          <a:xfrm>
            <a:off x="6165057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28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28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58" name="Google Shape;158;p28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28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- Subtitle">
  <p:cSld name="Three Content - Subtitle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29"/>
          <p:cNvSpPr txBox="1">
            <a:spLocks noGrp="1"/>
          </p:cNvSpPr>
          <p:nvPr>
            <p:ph type="body" idx="1"/>
          </p:nvPr>
        </p:nvSpPr>
        <p:spPr>
          <a:xfrm>
            <a:off x="332185" y="1577579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29"/>
          <p:cNvSpPr txBox="1">
            <a:spLocks noGrp="1"/>
          </p:cNvSpPr>
          <p:nvPr>
            <p:ph type="body" idx="2"/>
          </p:nvPr>
        </p:nvSpPr>
        <p:spPr>
          <a:xfrm>
            <a:off x="3249216" y="1577579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29"/>
          <p:cNvSpPr txBox="1">
            <a:spLocks noGrp="1"/>
          </p:cNvSpPr>
          <p:nvPr>
            <p:ph type="body" idx="3"/>
          </p:nvPr>
        </p:nvSpPr>
        <p:spPr>
          <a:xfrm>
            <a:off x="6165057" y="1577579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29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29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66" name="Google Shape;166;p29"/>
          <p:cNvSpPr txBox="1">
            <a:spLocks noGrp="1"/>
          </p:cNvSpPr>
          <p:nvPr>
            <p:ph type="subTitle" idx="4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7" name="Google Shape;167;p29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9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">
  <p:cSld name="Four Content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30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30"/>
          <p:cNvSpPr txBox="1">
            <a:spLocks noGrp="1"/>
          </p:cNvSpPr>
          <p:nvPr>
            <p:ph type="body" idx="2"/>
          </p:nvPr>
        </p:nvSpPr>
        <p:spPr>
          <a:xfrm>
            <a:off x="2520460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30"/>
          <p:cNvSpPr txBox="1">
            <a:spLocks noGrp="1"/>
          </p:cNvSpPr>
          <p:nvPr>
            <p:ph type="body" idx="3"/>
          </p:nvPr>
        </p:nvSpPr>
        <p:spPr>
          <a:xfrm>
            <a:off x="4706541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30"/>
          <p:cNvSpPr txBox="1">
            <a:spLocks noGrp="1"/>
          </p:cNvSpPr>
          <p:nvPr>
            <p:ph type="body" idx="4"/>
          </p:nvPr>
        </p:nvSpPr>
        <p:spPr>
          <a:xfrm>
            <a:off x="6892622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30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30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76" name="Google Shape;176;p30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30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 - Subtitle">
  <p:cSld name="Four Content - Subtitle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1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31"/>
          <p:cNvSpPr txBox="1">
            <a:spLocks noGrp="1"/>
          </p:cNvSpPr>
          <p:nvPr>
            <p:ph type="body" idx="2"/>
          </p:nvPr>
        </p:nvSpPr>
        <p:spPr>
          <a:xfrm>
            <a:off x="2520460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31"/>
          <p:cNvSpPr txBox="1">
            <a:spLocks noGrp="1"/>
          </p:cNvSpPr>
          <p:nvPr>
            <p:ph type="body" idx="3"/>
          </p:nvPr>
        </p:nvSpPr>
        <p:spPr>
          <a:xfrm>
            <a:off x="4706541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31"/>
          <p:cNvSpPr txBox="1">
            <a:spLocks noGrp="1"/>
          </p:cNvSpPr>
          <p:nvPr>
            <p:ph type="body" idx="4"/>
          </p:nvPr>
        </p:nvSpPr>
        <p:spPr>
          <a:xfrm>
            <a:off x="6892622" y="1577578"/>
            <a:ext cx="19170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31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31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85" name="Google Shape;185;p31"/>
          <p:cNvSpPr txBox="1">
            <a:spLocks noGrp="1"/>
          </p:cNvSpPr>
          <p:nvPr>
            <p:ph type="subTitle" idx="5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86" name="Google Shape;186;p31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31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">
  <p:cSld name="Five Content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2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32"/>
          <p:cNvSpPr txBox="1">
            <a:spLocks noGrp="1"/>
          </p:cNvSpPr>
          <p:nvPr>
            <p:ph type="body" idx="2"/>
          </p:nvPr>
        </p:nvSpPr>
        <p:spPr>
          <a:xfrm>
            <a:off x="2082784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1" name="Google Shape;191;p32"/>
          <p:cNvSpPr txBox="1">
            <a:spLocks noGrp="1"/>
          </p:cNvSpPr>
          <p:nvPr>
            <p:ph type="body" idx="3"/>
          </p:nvPr>
        </p:nvSpPr>
        <p:spPr>
          <a:xfrm>
            <a:off x="3833383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32"/>
          <p:cNvSpPr txBox="1">
            <a:spLocks noGrp="1"/>
          </p:cNvSpPr>
          <p:nvPr>
            <p:ph type="body" idx="4"/>
          </p:nvPr>
        </p:nvSpPr>
        <p:spPr>
          <a:xfrm>
            <a:off x="5583982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32"/>
          <p:cNvSpPr txBox="1">
            <a:spLocks noGrp="1"/>
          </p:cNvSpPr>
          <p:nvPr>
            <p:ph type="body" idx="5"/>
          </p:nvPr>
        </p:nvSpPr>
        <p:spPr>
          <a:xfrm>
            <a:off x="7334582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32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2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96" name="Google Shape;196;p32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32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" type="obj">
  <p:cSld name="OBJEC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5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body" idx="1"/>
          </p:nvPr>
        </p:nvSpPr>
        <p:spPr>
          <a:xfrm>
            <a:off x="332185" y="1577340"/>
            <a:ext cx="8479631" cy="3055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69" name="Google Shape;69;p15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5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 - Subtitle">
  <p:cSld name="Five Content - Subtitle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33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0" name="Google Shape;200;p33"/>
          <p:cNvSpPr txBox="1">
            <a:spLocks noGrp="1"/>
          </p:cNvSpPr>
          <p:nvPr>
            <p:ph type="body" idx="2"/>
          </p:nvPr>
        </p:nvSpPr>
        <p:spPr>
          <a:xfrm>
            <a:off x="2082784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1" name="Google Shape;201;p33"/>
          <p:cNvSpPr txBox="1">
            <a:spLocks noGrp="1"/>
          </p:cNvSpPr>
          <p:nvPr>
            <p:ph type="body" idx="3"/>
          </p:nvPr>
        </p:nvSpPr>
        <p:spPr>
          <a:xfrm>
            <a:off x="3833383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2" name="Google Shape;202;p33"/>
          <p:cNvSpPr txBox="1">
            <a:spLocks noGrp="1"/>
          </p:cNvSpPr>
          <p:nvPr>
            <p:ph type="body" idx="4"/>
          </p:nvPr>
        </p:nvSpPr>
        <p:spPr>
          <a:xfrm>
            <a:off x="5583982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3" name="Google Shape;203;p33"/>
          <p:cNvSpPr txBox="1">
            <a:spLocks noGrp="1"/>
          </p:cNvSpPr>
          <p:nvPr>
            <p:ph type="body" idx="5"/>
          </p:nvPr>
        </p:nvSpPr>
        <p:spPr>
          <a:xfrm>
            <a:off x="7334582" y="1577578"/>
            <a:ext cx="1479600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04" name="Google Shape;204;p33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3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06" name="Google Shape;206;p33"/>
          <p:cNvSpPr txBox="1">
            <a:spLocks noGrp="1"/>
          </p:cNvSpPr>
          <p:nvPr>
            <p:ph type="subTitle" idx="6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07" name="Google Shape;207;p33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33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>
  <p:cSld name="Three Images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4"/>
          <p:cNvSpPr>
            <a:spLocks noGrp="1"/>
          </p:cNvSpPr>
          <p:nvPr>
            <p:ph type="pic" idx="2"/>
          </p:nvPr>
        </p:nvSpPr>
        <p:spPr>
          <a:xfrm>
            <a:off x="332184" y="1575197"/>
            <a:ext cx="2646675" cy="226305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11" name="Google Shape;211;p34"/>
          <p:cNvSpPr txBox="1">
            <a:spLocks noGrp="1"/>
          </p:cNvSpPr>
          <p:nvPr>
            <p:ph type="body" idx="1"/>
          </p:nvPr>
        </p:nvSpPr>
        <p:spPr>
          <a:xfrm>
            <a:off x="332185" y="3960019"/>
            <a:ext cx="2646675" cy="669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12" name="Google Shape;212;p34"/>
          <p:cNvSpPr>
            <a:spLocks noGrp="1"/>
          </p:cNvSpPr>
          <p:nvPr>
            <p:ph type="pic" idx="3"/>
          </p:nvPr>
        </p:nvSpPr>
        <p:spPr>
          <a:xfrm>
            <a:off x="3248621" y="1575197"/>
            <a:ext cx="2646675" cy="226305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13" name="Google Shape;213;p34"/>
          <p:cNvSpPr txBox="1">
            <a:spLocks noGrp="1"/>
          </p:cNvSpPr>
          <p:nvPr>
            <p:ph type="body" idx="4"/>
          </p:nvPr>
        </p:nvSpPr>
        <p:spPr>
          <a:xfrm>
            <a:off x="3248621" y="3960019"/>
            <a:ext cx="2646675" cy="669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34"/>
          <p:cNvSpPr>
            <a:spLocks noGrp="1"/>
          </p:cNvSpPr>
          <p:nvPr>
            <p:ph type="pic" idx="5"/>
          </p:nvPr>
        </p:nvSpPr>
        <p:spPr>
          <a:xfrm>
            <a:off x="6165056" y="1575197"/>
            <a:ext cx="2646675" cy="226305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15" name="Google Shape;215;p34"/>
          <p:cNvSpPr txBox="1">
            <a:spLocks noGrp="1"/>
          </p:cNvSpPr>
          <p:nvPr>
            <p:ph type="body" idx="6"/>
          </p:nvPr>
        </p:nvSpPr>
        <p:spPr>
          <a:xfrm>
            <a:off x="6165057" y="3960019"/>
            <a:ext cx="2646675" cy="669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3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18" name="Google Shape;218;p34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34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 - Subtitle">
  <p:cSld name="Three Images - Subtitle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35"/>
          <p:cNvSpPr>
            <a:spLocks noGrp="1"/>
          </p:cNvSpPr>
          <p:nvPr>
            <p:ph type="pic" idx="2"/>
          </p:nvPr>
        </p:nvSpPr>
        <p:spPr>
          <a:xfrm>
            <a:off x="332184" y="1575197"/>
            <a:ext cx="2646760" cy="226314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22" name="Google Shape;222;p35"/>
          <p:cNvSpPr txBox="1">
            <a:spLocks noGrp="1"/>
          </p:cNvSpPr>
          <p:nvPr>
            <p:ph type="body" idx="1"/>
          </p:nvPr>
        </p:nvSpPr>
        <p:spPr>
          <a:xfrm>
            <a:off x="332185" y="3960019"/>
            <a:ext cx="2646759" cy="669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23" name="Google Shape;223;p35"/>
          <p:cNvSpPr>
            <a:spLocks noGrp="1"/>
          </p:cNvSpPr>
          <p:nvPr>
            <p:ph type="pic" idx="3"/>
          </p:nvPr>
        </p:nvSpPr>
        <p:spPr>
          <a:xfrm>
            <a:off x="3248621" y="1575197"/>
            <a:ext cx="2646760" cy="226314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24" name="Google Shape;224;p35"/>
          <p:cNvSpPr txBox="1">
            <a:spLocks noGrp="1"/>
          </p:cNvSpPr>
          <p:nvPr>
            <p:ph type="body" idx="4"/>
          </p:nvPr>
        </p:nvSpPr>
        <p:spPr>
          <a:xfrm>
            <a:off x="3248621" y="3960019"/>
            <a:ext cx="2646759" cy="669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35"/>
          <p:cNvSpPr>
            <a:spLocks noGrp="1"/>
          </p:cNvSpPr>
          <p:nvPr>
            <p:ph type="pic" idx="5"/>
          </p:nvPr>
        </p:nvSpPr>
        <p:spPr>
          <a:xfrm>
            <a:off x="6165056" y="1575197"/>
            <a:ext cx="2646760" cy="226314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26" name="Google Shape;226;p35"/>
          <p:cNvSpPr txBox="1">
            <a:spLocks noGrp="1"/>
          </p:cNvSpPr>
          <p:nvPr>
            <p:ph type="body" idx="6"/>
          </p:nvPr>
        </p:nvSpPr>
        <p:spPr>
          <a:xfrm>
            <a:off x="6165057" y="3960019"/>
            <a:ext cx="2646759" cy="669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27" name="Google Shape;227;p35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631" cy="377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5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29" name="Google Shape;229;p35"/>
          <p:cNvSpPr txBox="1">
            <a:spLocks noGrp="1"/>
          </p:cNvSpPr>
          <p:nvPr>
            <p:ph type="subTitle" idx="7"/>
          </p:nvPr>
        </p:nvSpPr>
        <p:spPr>
          <a:xfrm>
            <a:off x="332184" y="700075"/>
            <a:ext cx="8479632" cy="664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30" name="Google Shape;230;p35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35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">
  <p:cSld name="Four Text Boxes for Icons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36"/>
          <p:cNvSpPr txBox="1">
            <a:spLocks noGrp="1"/>
          </p:cNvSpPr>
          <p:nvPr>
            <p:ph type="body" idx="1"/>
          </p:nvPr>
        </p:nvSpPr>
        <p:spPr>
          <a:xfrm>
            <a:off x="332185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36"/>
          <p:cNvSpPr txBox="1">
            <a:spLocks noGrp="1"/>
          </p:cNvSpPr>
          <p:nvPr>
            <p:ph type="body" idx="2"/>
          </p:nvPr>
        </p:nvSpPr>
        <p:spPr>
          <a:xfrm>
            <a:off x="2519728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36"/>
          <p:cNvSpPr txBox="1">
            <a:spLocks noGrp="1"/>
          </p:cNvSpPr>
          <p:nvPr>
            <p:ph type="body" idx="3"/>
          </p:nvPr>
        </p:nvSpPr>
        <p:spPr>
          <a:xfrm>
            <a:off x="4707272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36"/>
          <p:cNvSpPr txBox="1">
            <a:spLocks noGrp="1"/>
          </p:cNvSpPr>
          <p:nvPr>
            <p:ph type="body" idx="4"/>
          </p:nvPr>
        </p:nvSpPr>
        <p:spPr>
          <a:xfrm>
            <a:off x="6894816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36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104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3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39" name="Google Shape;239;p36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36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 - Subtitle">
  <p:cSld name="Four Text Boxes for Icons - Subtitle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37"/>
          <p:cNvSpPr txBox="1">
            <a:spLocks noGrp="1"/>
          </p:cNvSpPr>
          <p:nvPr>
            <p:ph type="body" idx="1"/>
          </p:nvPr>
        </p:nvSpPr>
        <p:spPr>
          <a:xfrm>
            <a:off x="332185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37"/>
          <p:cNvSpPr txBox="1">
            <a:spLocks noGrp="1"/>
          </p:cNvSpPr>
          <p:nvPr>
            <p:ph type="body" idx="2"/>
          </p:nvPr>
        </p:nvSpPr>
        <p:spPr>
          <a:xfrm>
            <a:off x="2518649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37"/>
          <p:cNvSpPr txBox="1">
            <a:spLocks noGrp="1"/>
          </p:cNvSpPr>
          <p:nvPr>
            <p:ph type="body" idx="3"/>
          </p:nvPr>
        </p:nvSpPr>
        <p:spPr>
          <a:xfrm>
            <a:off x="4705112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37"/>
          <p:cNvSpPr txBox="1">
            <a:spLocks noGrp="1"/>
          </p:cNvSpPr>
          <p:nvPr>
            <p:ph type="body" idx="4"/>
          </p:nvPr>
        </p:nvSpPr>
        <p:spPr>
          <a:xfrm>
            <a:off x="6891575" y="2571750"/>
            <a:ext cx="1920240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None/>
              <a:defRPr sz="9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37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631" cy="377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37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48" name="Google Shape;248;p37"/>
          <p:cNvSpPr txBox="1">
            <a:spLocks noGrp="1"/>
          </p:cNvSpPr>
          <p:nvPr>
            <p:ph type="subTitle" idx="5"/>
          </p:nvPr>
        </p:nvSpPr>
        <p:spPr>
          <a:xfrm>
            <a:off x="332184" y="700075"/>
            <a:ext cx="8479632" cy="664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49" name="Google Shape;249;p37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37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am Images">
  <p:cSld name="Four Team Images"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p38"/>
          <p:cNvSpPr>
            <a:spLocks noGrp="1"/>
          </p:cNvSpPr>
          <p:nvPr>
            <p:ph type="pic" idx="2"/>
          </p:nvPr>
        </p:nvSpPr>
        <p:spPr>
          <a:xfrm>
            <a:off x="332183" y="1577340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53" name="Google Shape;253;p38"/>
          <p:cNvSpPr txBox="1">
            <a:spLocks noGrp="1"/>
          </p:cNvSpPr>
          <p:nvPr>
            <p:ph type="body" idx="1"/>
          </p:nvPr>
        </p:nvSpPr>
        <p:spPr>
          <a:xfrm>
            <a:off x="332184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54" name="Google Shape;254;p38"/>
          <p:cNvSpPr>
            <a:spLocks noGrp="1"/>
          </p:cNvSpPr>
          <p:nvPr>
            <p:ph type="pic" idx="3"/>
          </p:nvPr>
        </p:nvSpPr>
        <p:spPr>
          <a:xfrm>
            <a:off x="2519728" y="1577340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55" name="Google Shape;255;p38"/>
          <p:cNvSpPr txBox="1">
            <a:spLocks noGrp="1"/>
          </p:cNvSpPr>
          <p:nvPr>
            <p:ph type="body" idx="4"/>
          </p:nvPr>
        </p:nvSpPr>
        <p:spPr>
          <a:xfrm>
            <a:off x="2519728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56" name="Google Shape;256;p38"/>
          <p:cNvSpPr>
            <a:spLocks noGrp="1"/>
          </p:cNvSpPr>
          <p:nvPr>
            <p:ph type="pic" idx="5"/>
          </p:nvPr>
        </p:nvSpPr>
        <p:spPr>
          <a:xfrm>
            <a:off x="4707272" y="1577340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57" name="Google Shape;257;p38"/>
          <p:cNvSpPr txBox="1">
            <a:spLocks noGrp="1"/>
          </p:cNvSpPr>
          <p:nvPr>
            <p:ph type="body" idx="6"/>
          </p:nvPr>
        </p:nvSpPr>
        <p:spPr>
          <a:xfrm>
            <a:off x="4707272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58" name="Google Shape;258;p38"/>
          <p:cNvSpPr>
            <a:spLocks noGrp="1"/>
          </p:cNvSpPr>
          <p:nvPr>
            <p:ph type="pic" idx="7"/>
          </p:nvPr>
        </p:nvSpPr>
        <p:spPr>
          <a:xfrm>
            <a:off x="6894816" y="1577340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59" name="Google Shape;259;p38"/>
          <p:cNvSpPr txBox="1">
            <a:spLocks noGrp="1"/>
          </p:cNvSpPr>
          <p:nvPr>
            <p:ph type="body" idx="8"/>
          </p:nvPr>
        </p:nvSpPr>
        <p:spPr>
          <a:xfrm>
            <a:off x="6894816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60" name="Google Shape;260;p38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104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38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62" name="Google Shape;262;p38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38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am Images - Subtitle">
  <p:cSld name="Four Team Images - Subtitle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39"/>
          <p:cNvSpPr>
            <a:spLocks noGrp="1"/>
          </p:cNvSpPr>
          <p:nvPr>
            <p:ph type="pic" idx="2"/>
          </p:nvPr>
        </p:nvSpPr>
        <p:spPr>
          <a:xfrm>
            <a:off x="332184" y="1577578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66" name="Google Shape;266;p39"/>
          <p:cNvSpPr txBox="1">
            <a:spLocks noGrp="1"/>
          </p:cNvSpPr>
          <p:nvPr>
            <p:ph type="body" idx="1"/>
          </p:nvPr>
        </p:nvSpPr>
        <p:spPr>
          <a:xfrm>
            <a:off x="332184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67" name="Google Shape;267;p39"/>
          <p:cNvSpPr>
            <a:spLocks noGrp="1"/>
          </p:cNvSpPr>
          <p:nvPr>
            <p:ph type="pic" idx="3"/>
          </p:nvPr>
        </p:nvSpPr>
        <p:spPr>
          <a:xfrm>
            <a:off x="2518648" y="1577578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68" name="Google Shape;268;p39"/>
          <p:cNvSpPr txBox="1">
            <a:spLocks noGrp="1"/>
          </p:cNvSpPr>
          <p:nvPr>
            <p:ph type="body" idx="4"/>
          </p:nvPr>
        </p:nvSpPr>
        <p:spPr>
          <a:xfrm>
            <a:off x="2518648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69" name="Google Shape;269;p39"/>
          <p:cNvSpPr>
            <a:spLocks noGrp="1"/>
          </p:cNvSpPr>
          <p:nvPr>
            <p:ph type="pic" idx="5"/>
          </p:nvPr>
        </p:nvSpPr>
        <p:spPr>
          <a:xfrm>
            <a:off x="4705112" y="1577578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70" name="Google Shape;270;p39"/>
          <p:cNvSpPr txBox="1">
            <a:spLocks noGrp="1"/>
          </p:cNvSpPr>
          <p:nvPr>
            <p:ph type="body" idx="6"/>
          </p:nvPr>
        </p:nvSpPr>
        <p:spPr>
          <a:xfrm>
            <a:off x="4705111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71" name="Google Shape;271;p39"/>
          <p:cNvSpPr>
            <a:spLocks noGrp="1"/>
          </p:cNvSpPr>
          <p:nvPr>
            <p:ph type="pic" idx="7"/>
          </p:nvPr>
        </p:nvSpPr>
        <p:spPr>
          <a:xfrm>
            <a:off x="6891575" y="1577578"/>
            <a:ext cx="994410" cy="99441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72" name="Google Shape;272;p39"/>
          <p:cNvSpPr txBox="1">
            <a:spLocks noGrp="1"/>
          </p:cNvSpPr>
          <p:nvPr>
            <p:ph type="body" idx="8"/>
          </p:nvPr>
        </p:nvSpPr>
        <p:spPr>
          <a:xfrm>
            <a:off x="6891575" y="2743200"/>
            <a:ext cx="1920240" cy="1885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4pPr>
            <a:lvl5pPr marL="2286000" lvl="4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6pPr>
            <a:lvl7pPr marL="3200400" lvl="6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7pPr>
            <a:lvl8pPr marL="3657600" lvl="7" indent="-3048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 sz="1200"/>
            </a:lvl8pPr>
            <a:lvl9pPr marL="4114800" lvl="8" indent="-30480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200"/>
              <a:buChar char="•"/>
              <a:defRPr sz="1200"/>
            </a:lvl9pPr>
          </a:lstStyle>
          <a:p>
            <a:endParaRPr/>
          </a:p>
        </p:txBody>
      </p:sp>
      <p:sp>
        <p:nvSpPr>
          <p:cNvPr id="273" name="Google Shape;273;p39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631" cy="377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39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75" name="Google Shape;275;p39"/>
          <p:cNvSpPr txBox="1">
            <a:spLocks noGrp="1"/>
          </p:cNvSpPr>
          <p:nvPr>
            <p:ph type="subTitle" idx="9"/>
          </p:nvPr>
        </p:nvSpPr>
        <p:spPr>
          <a:xfrm>
            <a:off x="332184" y="700075"/>
            <a:ext cx="8479632" cy="664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76" name="Google Shape;276;p39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7" name="Google Shape;277;p39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hart">
  <p:cSld name="One Column Chart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40"/>
          <p:cNvSpPr txBox="1">
            <a:spLocks noGrp="1"/>
          </p:cNvSpPr>
          <p:nvPr>
            <p:ph type="body" idx="1"/>
          </p:nvPr>
        </p:nvSpPr>
        <p:spPr>
          <a:xfrm>
            <a:off x="332186" y="1577579"/>
            <a:ext cx="2646759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0" name="Google Shape;280;p40"/>
          <p:cNvSpPr>
            <a:spLocks noGrp="1"/>
          </p:cNvSpPr>
          <p:nvPr>
            <p:ph type="chart" idx="2"/>
          </p:nvPr>
        </p:nvSpPr>
        <p:spPr>
          <a:xfrm>
            <a:off x="4200526" y="1071563"/>
            <a:ext cx="4611290" cy="3557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1" name="Google Shape;281;p40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104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40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83" name="Google Shape;283;p40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84" name="Google Shape;284;p40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hart - Subtitle">
  <p:cSld name="One Column Chart - Subtitle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41"/>
          <p:cNvSpPr txBox="1">
            <a:spLocks noGrp="1"/>
          </p:cNvSpPr>
          <p:nvPr>
            <p:ph type="body" idx="1"/>
          </p:nvPr>
        </p:nvSpPr>
        <p:spPr>
          <a:xfrm>
            <a:off x="332186" y="1577579"/>
            <a:ext cx="2646759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41"/>
          <p:cNvSpPr>
            <a:spLocks noGrp="1"/>
          </p:cNvSpPr>
          <p:nvPr>
            <p:ph type="chart" idx="2"/>
          </p:nvPr>
        </p:nvSpPr>
        <p:spPr>
          <a:xfrm>
            <a:off x="4200526" y="1071563"/>
            <a:ext cx="4611290" cy="3557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8" name="Google Shape;288;p41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631" cy="377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41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90" name="Google Shape;290;p41"/>
          <p:cNvSpPr txBox="1">
            <a:spLocks noGrp="1"/>
          </p:cNvSpPr>
          <p:nvPr>
            <p:ph type="subTitle" idx="3"/>
          </p:nvPr>
        </p:nvSpPr>
        <p:spPr>
          <a:xfrm>
            <a:off x="332184" y="700075"/>
            <a:ext cx="8479632" cy="664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91" name="Google Shape;291;p41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41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hart Dark">
  <p:cSld name="One Column Chart Dark">
    <p:bg>
      <p:bgPr>
        <a:solidFill>
          <a:srgbClr val="464646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42"/>
          <p:cNvSpPr txBox="1">
            <a:spLocks noGrp="1"/>
          </p:cNvSpPr>
          <p:nvPr>
            <p:ph type="body" idx="1"/>
          </p:nvPr>
        </p:nvSpPr>
        <p:spPr>
          <a:xfrm>
            <a:off x="332186" y="1577579"/>
            <a:ext cx="2646759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8pPr>
            <a:lvl9pPr marL="4114800" lvl="8" indent="-3048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95" name="Google Shape;295;p42"/>
          <p:cNvSpPr>
            <a:spLocks noGrp="1"/>
          </p:cNvSpPr>
          <p:nvPr>
            <p:ph type="chart" idx="2"/>
          </p:nvPr>
        </p:nvSpPr>
        <p:spPr>
          <a:xfrm>
            <a:off x="4200526" y="1071563"/>
            <a:ext cx="4611290" cy="3557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6" name="Google Shape;296;p42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2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42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42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hart Dark">
  <p:cSld name="Title and Chart Dark">
    <p:bg>
      <p:bgPr>
        <a:solidFill>
          <a:srgbClr val="464646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6"/>
          <p:cNvSpPr>
            <a:spLocks noGrp="1"/>
          </p:cNvSpPr>
          <p:nvPr>
            <p:ph type="chart" idx="2"/>
          </p:nvPr>
        </p:nvSpPr>
        <p:spPr>
          <a:xfrm>
            <a:off x="332185" y="1577579"/>
            <a:ext cx="8479631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16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6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6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43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02" name="Google Shape;302;p4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303" name="Google Shape;303;p43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43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4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307" name="Google Shape;307;p44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44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 No Footer">
  <p:cSld name="Blank No Footer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fographic and Chart">
  <p:cSld name="Infographic and Chart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46"/>
          <p:cNvSpPr/>
          <p:nvPr/>
        </p:nvSpPr>
        <p:spPr>
          <a:xfrm>
            <a:off x="0" y="1577579"/>
            <a:ext cx="2978944" cy="305157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2" name="Google Shape;312;p46"/>
          <p:cNvSpPr txBox="1">
            <a:spLocks noGrp="1"/>
          </p:cNvSpPr>
          <p:nvPr>
            <p:ph type="body" idx="1"/>
          </p:nvPr>
        </p:nvSpPr>
        <p:spPr>
          <a:xfrm>
            <a:off x="270278" y="1783080"/>
            <a:ext cx="2708910" cy="1303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200"/>
              <a:buNone/>
              <a:defRPr sz="102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46"/>
          <p:cNvSpPr txBox="1">
            <a:spLocks noGrp="1"/>
          </p:cNvSpPr>
          <p:nvPr>
            <p:ph type="body" idx="2"/>
          </p:nvPr>
        </p:nvSpPr>
        <p:spPr>
          <a:xfrm>
            <a:off x="332185" y="2948940"/>
            <a:ext cx="2496739" cy="1546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marL="914400" lvl="1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b="0"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b="0">
                <a:solidFill>
                  <a:schemeClr val="lt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 b="0">
                <a:solidFill>
                  <a:schemeClr val="lt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 b="0">
                <a:solidFill>
                  <a:schemeClr val="lt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>
                <a:solidFill>
                  <a:schemeClr val="lt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–"/>
              <a:defRPr>
                <a:solidFill>
                  <a:schemeClr val="lt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Char char="•"/>
              <a:defRPr>
                <a:solidFill>
                  <a:schemeClr val="lt1"/>
                </a:solidFill>
              </a:defRPr>
            </a:lvl8pPr>
            <a:lvl9pPr marL="4114800" lvl="8" indent="-3048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Font typeface="Arial"/>
              <a:buChar char="–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14" name="Google Shape;314;p46"/>
          <p:cNvSpPr>
            <a:spLocks noGrp="1"/>
          </p:cNvSpPr>
          <p:nvPr>
            <p:ph type="chart" idx="3"/>
          </p:nvPr>
        </p:nvSpPr>
        <p:spPr>
          <a:xfrm>
            <a:off x="3245644" y="1571625"/>
            <a:ext cx="5566172" cy="3057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5" name="Google Shape;315;p46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16" name="Google Shape;316;p4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317" name="Google Shape;317;p46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46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Infographic">
  <p:cSld name="Three Content Infographic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47"/>
          <p:cNvSpPr txBox="1">
            <a:spLocks noGrp="1"/>
          </p:cNvSpPr>
          <p:nvPr>
            <p:ph type="body" idx="1"/>
          </p:nvPr>
        </p:nvSpPr>
        <p:spPr>
          <a:xfrm>
            <a:off x="332185" y="2699657"/>
            <a:ext cx="2646759" cy="193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1" name="Google Shape;321;p47"/>
          <p:cNvSpPr txBox="1">
            <a:spLocks noGrp="1"/>
          </p:cNvSpPr>
          <p:nvPr>
            <p:ph type="body" idx="2"/>
          </p:nvPr>
        </p:nvSpPr>
        <p:spPr>
          <a:xfrm>
            <a:off x="332185" y="1571625"/>
            <a:ext cx="2646759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6400"/>
              <a:buNone/>
              <a:defRPr sz="6400" b="0"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47"/>
          <p:cNvSpPr txBox="1">
            <a:spLocks noGrp="1"/>
          </p:cNvSpPr>
          <p:nvPr>
            <p:ph type="body" idx="3"/>
          </p:nvPr>
        </p:nvSpPr>
        <p:spPr>
          <a:xfrm>
            <a:off x="3245643" y="1571625"/>
            <a:ext cx="2650331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400"/>
              <a:buNone/>
              <a:defRPr sz="6400" b="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3" name="Google Shape;323;p47"/>
          <p:cNvSpPr txBox="1">
            <a:spLocks noGrp="1"/>
          </p:cNvSpPr>
          <p:nvPr>
            <p:ph type="body" idx="4"/>
          </p:nvPr>
        </p:nvSpPr>
        <p:spPr>
          <a:xfrm>
            <a:off x="6166928" y="1571625"/>
            <a:ext cx="2646759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400"/>
              <a:buNone/>
              <a:defRPr sz="6400" b="0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47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47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326" name="Google Shape;326;p47"/>
          <p:cNvSpPr txBox="1">
            <a:spLocks noGrp="1"/>
          </p:cNvSpPr>
          <p:nvPr>
            <p:ph type="body" idx="5"/>
          </p:nvPr>
        </p:nvSpPr>
        <p:spPr>
          <a:xfrm>
            <a:off x="3245644" y="2699657"/>
            <a:ext cx="2650331" cy="193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7" name="Google Shape;327;p47"/>
          <p:cNvSpPr txBox="1">
            <a:spLocks noGrp="1"/>
          </p:cNvSpPr>
          <p:nvPr>
            <p:ph type="body" idx="6"/>
          </p:nvPr>
        </p:nvSpPr>
        <p:spPr>
          <a:xfrm>
            <a:off x="6166928" y="2699657"/>
            <a:ext cx="2646759" cy="1933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>
                <a:solidFill>
                  <a:schemeClr val="dk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>
                <a:solidFill>
                  <a:schemeClr val="dk1"/>
                </a:solidFill>
              </a:defRPr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328" name="Google Shape;328;p47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29" name="Google Shape;329;p47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Full Content">
  <p:cSld name="1_Title and Full Content">
    <p:bg>
      <p:bgPr>
        <a:solidFill>
          <a:schemeClr val="accent6"/>
        </a:solidFill>
        <a:effectLst/>
      </p:bgPr>
    </p:bg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49"/>
          <p:cNvSpPr txBox="1">
            <a:spLocks noGrp="1"/>
          </p:cNvSpPr>
          <p:nvPr>
            <p:ph type="body" idx="1"/>
          </p:nvPr>
        </p:nvSpPr>
        <p:spPr>
          <a:xfrm>
            <a:off x="457200" y="1577579"/>
            <a:ext cx="8229600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>
                <a:solidFill>
                  <a:schemeClr val="lt1"/>
                </a:solidFill>
              </a:defRPr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8pPr>
            <a:lvl9pPr marL="4114800" lvl="8" indent="-3048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39" name="Google Shape;339;p49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340" name="Google Shape;340;p49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Georgia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49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2" name="Google Shape;342;p49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p49"/>
          <p:cNvSpPr txBox="1"/>
          <p:nvPr/>
        </p:nvSpPr>
        <p:spPr>
          <a:xfrm>
            <a:off x="332184" y="4869180"/>
            <a:ext cx="3981767" cy="1028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" sz="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3705640"/>
            <a:ext cx="9144000" cy="14378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86" y="321469"/>
            <a:ext cx="4105274" cy="1821656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5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2184" y="3944700"/>
            <a:ext cx="8479632" cy="1088708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E38915-9703-4A26-8201-0DA9C11C45AC}"/>
              </a:ext>
            </a:extLst>
          </p:cNvPr>
          <p:cNvSpPr txBox="1"/>
          <p:nvPr userDrawn="1"/>
        </p:nvSpPr>
        <p:spPr>
          <a:xfrm>
            <a:off x="332185" y="3328986"/>
            <a:ext cx="4105274" cy="2553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00">
                <a:solidFill>
                  <a:schemeClr val="tx1"/>
                </a:solidFill>
              </a:rPr>
              <a:t>pwc.in</a:t>
            </a:r>
          </a:p>
        </p:txBody>
      </p:sp>
    </p:spTree>
    <p:extLst>
      <p:ext uri="{BB962C8B-B14F-4D97-AF65-F5344CB8AC3E}">
        <p14:creationId xmlns:p14="http://schemas.microsoft.com/office/powerpoint/2010/main" val="23680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894"/>
            <a:ext cx="9143999" cy="3401112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258898" y="4058099"/>
            <a:ext cx="1636775" cy="983583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5522076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606680"/>
            <a:ext cx="5522076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2126" y="3253912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52126" y="3114781"/>
            <a:ext cx="2002444" cy="1310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77579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45192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4" y="1051"/>
          <a:ext cx="1444" cy="1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11" imgW="423" imgH="424" progId="TCLayout.ActiveDocument.1">
                  <p:embed/>
                </p:oleObj>
              </mc:Choice>
              <mc:Fallback>
                <p:oleObj name="think-cell Slide" r:id="rId11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1"/>
                        <a:ext cx="1444" cy="1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2360815" cy="51435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926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407418" y="705971"/>
            <a:ext cx="881273" cy="502055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419" y="1361515"/>
            <a:ext cx="180738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419" y="4017453"/>
            <a:ext cx="180738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689262" y="1311089"/>
            <a:ext cx="5976851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9263" y="705971"/>
            <a:ext cx="2410201" cy="11202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89263" y="1361515"/>
            <a:ext cx="5972599" cy="271401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1213" y="4737982"/>
            <a:ext cx="2278051" cy="8156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98873" y="4851409"/>
            <a:ext cx="2085891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407418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652260" y="4858953"/>
            <a:ext cx="0" cy="6656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9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247761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073" y="4738072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1979" y="961818"/>
            <a:ext cx="2928581" cy="3458517"/>
          </a:xfrm>
        </p:spPr>
        <p:txBody>
          <a:bodyPr/>
          <a:lstStyle>
            <a:lvl1pPr>
              <a:defRPr sz="596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282" y="961818"/>
            <a:ext cx="2928581" cy="3458517"/>
          </a:xfrm>
        </p:spPr>
        <p:txBody>
          <a:bodyPr/>
          <a:lstStyle>
            <a:lvl1pPr>
              <a:defRPr sz="596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2362565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926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407418" y="705971"/>
            <a:ext cx="881273" cy="502055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1212" y="4565718"/>
            <a:ext cx="1782425" cy="8156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530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419" y="1361515"/>
            <a:ext cx="178242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419" y="3922635"/>
            <a:ext cx="1782425" cy="11202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98873" y="4851409"/>
            <a:ext cx="2085891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407418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652260" y="4858953"/>
            <a:ext cx="0" cy="6656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2533985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530289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tatement">
  <p:cSld name="Closing Statement">
    <p:bg>
      <p:bgPr>
        <a:solidFill>
          <a:schemeClr val="accent6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7"/>
          <p:cNvSpPr txBox="1">
            <a:spLocks noGrp="1"/>
          </p:cNvSpPr>
          <p:nvPr>
            <p:ph type="title"/>
          </p:nvPr>
        </p:nvSpPr>
        <p:spPr>
          <a:xfrm>
            <a:off x="457200" y="342900"/>
            <a:ext cx="5122912" cy="302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Georgia"/>
              <a:buNone/>
              <a:defRPr sz="21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7"/>
          <p:cNvSpPr/>
          <p:nvPr/>
        </p:nvSpPr>
        <p:spPr>
          <a:xfrm>
            <a:off x="6107131" y="-1"/>
            <a:ext cx="3036870" cy="51435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0" name="Google Shape;80;p17"/>
          <p:cNvSpPr/>
          <p:nvPr/>
        </p:nvSpPr>
        <p:spPr>
          <a:xfrm>
            <a:off x="6033844" y="0"/>
            <a:ext cx="1338075" cy="36456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81" name="Google Shape;81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0948" y="-3770"/>
            <a:ext cx="3043053" cy="3653205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7"/>
          <p:cNvSpPr/>
          <p:nvPr/>
        </p:nvSpPr>
        <p:spPr>
          <a:xfrm>
            <a:off x="0" y="3643064"/>
            <a:ext cx="9144000" cy="1500436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       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912172"/>
            <a:ext cx="8179724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482138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4638502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947684553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912172"/>
            <a:ext cx="4023360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638502" y="1912172"/>
            <a:ext cx="4023360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482138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638502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409884000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8179724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154862" marR="0" indent="-152479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309722" marR="0" indent="-151288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459819" marR="0" indent="-151288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3397480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638502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214923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5414819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026728" y="1361515"/>
            <a:ext cx="2629593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3220959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4020590" cy="1563221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82138" y="3031640"/>
            <a:ext cx="402059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4641273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993843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482138" y="1361515"/>
            <a:ext cx="4023360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4638502" y="1361515"/>
            <a:ext cx="4023360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482138" y="3032402"/>
            <a:ext cx="8179724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694818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3254433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6026727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08365194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361515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361515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3031640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3031640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77538263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422968586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">
  <p:cSld name="Title Slide 1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8"/>
          <p:cNvSpPr/>
          <p:nvPr/>
        </p:nvSpPr>
        <p:spPr>
          <a:xfrm>
            <a:off x="0" y="0"/>
            <a:ext cx="6072187" cy="257175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8"/>
          <p:cNvSpPr/>
          <p:nvPr/>
        </p:nvSpPr>
        <p:spPr>
          <a:xfrm>
            <a:off x="0" y="2571750"/>
            <a:ext cx="6072187" cy="85725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86;p18"/>
          <p:cNvSpPr/>
          <p:nvPr/>
        </p:nvSpPr>
        <p:spPr>
          <a:xfrm>
            <a:off x="6072188" y="0"/>
            <a:ext cx="3071813" cy="257175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18"/>
          <p:cNvSpPr txBox="1">
            <a:spLocks noGrp="1"/>
          </p:cNvSpPr>
          <p:nvPr>
            <p:ph type="ctrTitle"/>
          </p:nvPr>
        </p:nvSpPr>
        <p:spPr>
          <a:xfrm>
            <a:off x="332184" y="321469"/>
            <a:ext cx="5563791" cy="1821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Georgia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18"/>
          <p:cNvSpPr txBox="1">
            <a:spLocks noGrp="1"/>
          </p:cNvSpPr>
          <p:nvPr>
            <p:ph type="subTitle" idx="1"/>
          </p:nvPr>
        </p:nvSpPr>
        <p:spPr>
          <a:xfrm>
            <a:off x="332185" y="2811780"/>
            <a:ext cx="4105275" cy="445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89" name="Google Shape;89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8854" y="3998214"/>
            <a:ext cx="1227582" cy="10133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242678374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302717985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685798269"/>
      </p:ext>
    </p:extLst>
  </p:cSld>
  <p:clrMapOvr>
    <a:masterClrMapping/>
  </p:clrMapOvr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9" y="707987"/>
            <a:ext cx="2635135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3254433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6026727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3254433" y="712363"/>
            <a:ext cx="5407429" cy="556709"/>
          </a:xfrm>
        </p:spPr>
        <p:txBody>
          <a:bodyPr tIns="0" bIns="0"/>
          <a:lstStyle>
            <a:lvl1pPr>
              <a:defRPr sz="66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72503333"/>
      </p:ext>
    </p:extLst>
  </p:cSld>
  <p:clrMapOvr>
    <a:masterClrMapping/>
  </p:clrMapOvr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8179724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3723621"/>
      </p:ext>
    </p:extLst>
  </p:cSld>
  <p:clrMapOvr>
    <a:masterClrMapping/>
  </p:clrMapOvr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9207"/>
            <a:ext cx="5918662" cy="499012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2648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752811"/>
      </p:ext>
    </p:extLst>
  </p:cSld>
  <p:clrMapOvr>
    <a:masterClrMapping/>
  </p:clrMapOvr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9207"/>
            <a:ext cx="5918662" cy="499012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2648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071867"/>
      </p:ext>
    </p:extLst>
  </p:cSld>
  <p:clrMapOvr>
    <a:masterClrMapping/>
  </p:clrMapOvr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5971"/>
            <a:ext cx="5919393" cy="502248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2648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155726"/>
      </p:ext>
    </p:extLst>
  </p:cSld>
  <p:clrMapOvr>
    <a:masterClrMapping/>
  </p:clrMapOvr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5971"/>
            <a:ext cx="5919393" cy="502248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2648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094065"/>
      </p:ext>
    </p:extLst>
  </p:cSld>
  <p:clrMapOvr>
    <a:masterClrMapping/>
  </p:clrMapOvr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57200" y="342900"/>
            <a:ext cx="3981797" cy="1887967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3177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3705641"/>
            <a:ext cx="9144000" cy="143786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8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09060"/>
            <a:ext cx="8179724" cy="10287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360172782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9"/>
          <p:cNvSpPr txBox="1">
            <a:spLocks noGrp="1"/>
          </p:cNvSpPr>
          <p:nvPr>
            <p:ph type="body" idx="1"/>
          </p:nvPr>
        </p:nvSpPr>
        <p:spPr>
          <a:xfrm>
            <a:off x="332184" y="1577340"/>
            <a:ext cx="8479575" cy="3055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19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Georgia"/>
              <a:buAutoNum type="arabicPeriod"/>
              <a:defRPr sz="21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828800" lvl="3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3200400" lvl="6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3657600" lvl="7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4114800" lvl="8" indent="-3048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9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94" name="Google Shape;94;p19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19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1870363" y="3"/>
            <a:ext cx="7273637" cy="5151259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6275652" cy="51435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80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4695474"/>
      </p:ext>
    </p:extLst>
  </p:cSld>
  <p:clrMapOvr>
    <a:masterClrMapping/>
  </p:clrMapOvr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1870363" y="3"/>
            <a:ext cx="7273637" cy="5151259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6275652" cy="51435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80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0632690"/>
      </p:ext>
    </p:extLst>
  </p:cSld>
  <p:clrMapOvr>
    <a:masterClrMapping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6903743"/>
      </p:ext>
    </p:extLst>
  </p:cSld>
  <p:clrMapOvr>
    <a:masterClrMapping/>
  </p:clrMapOvr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057400" y="1"/>
            <a:ext cx="7086600" cy="51434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728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6275652" cy="51435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801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7453" y="3156043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427453" y="3541645"/>
            <a:ext cx="2443952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427453" y="2813797"/>
            <a:ext cx="2183264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453" y="1663306"/>
            <a:ext cx="4761151" cy="488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177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453" y="2608057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7186567"/>
      </p:ext>
    </p:extLst>
  </p:cSld>
  <p:clrMapOvr>
    <a:masterClrMapping/>
  </p:clrMapOvr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057400" y="1"/>
            <a:ext cx="7086600" cy="51434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728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6275652" cy="51435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801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7453" y="3156043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427453" y="3541645"/>
            <a:ext cx="2443952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427453" y="2813797"/>
            <a:ext cx="2183264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453" y="1663306"/>
            <a:ext cx="4761151" cy="488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177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453" y="2608057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557522"/>
      </p:ext>
    </p:extLst>
  </p:cSld>
  <p:clrMapOvr>
    <a:masterClrMapping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41ED8-AC2E-4560-8CC9-E6292DDF25B6}" type="datetime1">
              <a:rPr lang="en-US" smtClean="0"/>
              <a:t>03/0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5245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7FBD120B-8377-4641-9618-9DD682652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3529226"/>
            <a:ext cx="4383911" cy="1080000"/>
          </a:xfrm>
          <a:solidFill>
            <a:schemeClr val="bg1"/>
          </a:solidFill>
        </p:spPr>
        <p:txBody>
          <a:bodyPr lIns="792000"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58531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72"/>
          <p:cNvSpPr txBox="1">
            <a:spLocks noGrp="1"/>
          </p:cNvSpPr>
          <p:nvPr>
            <p:ph type="body" idx="1"/>
          </p:nvPr>
        </p:nvSpPr>
        <p:spPr>
          <a:xfrm>
            <a:off x="332185" y="1577341"/>
            <a:ext cx="5563790" cy="305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892" lvl="0" indent="-1714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685783" lvl="1" indent="-171446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028675" lvl="2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566" lvl="3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457" lvl="4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348" lvl="5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2400240" lvl="6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132" lvl="7" indent="-257168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3086023" lvl="8" indent="-257168"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6B7ECC-C278-4A47-A8F0-A437D82071F5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E340CC-4EB5-45A7-84FF-732317818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04059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711" y="895324"/>
            <a:ext cx="3289381" cy="994172"/>
          </a:xfrm>
        </p:spPr>
        <p:txBody>
          <a:bodyPr anchor="b">
            <a:normAutofit/>
          </a:bodyPr>
          <a:lstStyle>
            <a:lvl1pPr algn="r">
              <a:defRPr sz="30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3711" y="1974253"/>
            <a:ext cx="3289381" cy="251817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03112" y="1905397"/>
            <a:ext cx="2284727" cy="287062"/>
          </a:xfrm>
        </p:spPr>
        <p:txBody>
          <a:bodyPr lIns="0" anchor="b">
            <a:normAutofit/>
          </a:bodyPr>
          <a:lstStyle>
            <a:lvl1pPr marL="0" indent="0">
              <a:buNone/>
              <a:defRPr sz="1200" b="1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7205" y="1905397"/>
            <a:ext cx="2267362" cy="287062"/>
          </a:xfrm>
        </p:spPr>
        <p:txBody>
          <a:bodyPr vert="horz" lIns="0" tIns="45720" rIns="91440" bIns="45720" rtlCol="0" anchor="b">
            <a:normAutofit/>
          </a:bodyPr>
          <a:lstStyle>
            <a:lvl1pPr>
              <a:defRPr lang="en-US" sz="1200" b="1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en-US"/>
              <a:t>Click to add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2894" y="2208610"/>
            <a:ext cx="2284810" cy="2283619"/>
          </a:xfrm>
        </p:spPr>
        <p:txBody>
          <a:bodyPr lIns="0" tIns="72000"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825">
                <a:latin typeface="+mn-lt"/>
              </a:defRPr>
            </a:lvl3pPr>
            <a:lvl4pPr>
              <a:defRPr sz="788">
                <a:latin typeface="+mn-lt"/>
              </a:defRPr>
            </a:lvl4pPr>
            <a:lvl5pPr>
              <a:defRPr sz="788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205" y="2208610"/>
            <a:ext cx="2267362" cy="2283619"/>
          </a:xfrm>
        </p:spPr>
        <p:txBody>
          <a:bodyPr lIns="0" tIns="72000">
            <a:normAutofit/>
          </a:bodyPr>
          <a:lstStyle>
            <a:lvl1pPr>
              <a:defRPr sz="105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825">
                <a:latin typeface="+mn-lt"/>
              </a:defRPr>
            </a:lvl3pPr>
            <a:lvl4pPr>
              <a:defRPr sz="788">
                <a:latin typeface="+mn-lt"/>
              </a:defRPr>
            </a:lvl4pPr>
            <a:lvl5pPr>
              <a:defRPr sz="788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37997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3705640"/>
            <a:ext cx="9144000" cy="14378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86" y="321469"/>
            <a:ext cx="4105274" cy="1821656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85000"/>
              </a:lnSpc>
              <a:defRPr sz="435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2184" y="3944700"/>
            <a:ext cx="8479632" cy="1088708"/>
          </a:xfrm>
          <a:prstGeom prst="rect">
            <a:avLst/>
          </a:prstGeo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000500" y="0"/>
            <a:ext cx="51435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E38915-9703-4A26-8201-0DA9C11C45AC}"/>
              </a:ext>
            </a:extLst>
          </p:cNvPr>
          <p:cNvSpPr txBox="1"/>
          <p:nvPr userDrawn="1"/>
        </p:nvSpPr>
        <p:spPr>
          <a:xfrm>
            <a:off x="332185" y="3328986"/>
            <a:ext cx="4105274" cy="2553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00">
                <a:solidFill>
                  <a:schemeClr val="tx1"/>
                </a:solidFill>
              </a:rPr>
              <a:t>pwc.in</a:t>
            </a:r>
          </a:p>
        </p:txBody>
      </p:sp>
    </p:spTree>
    <p:extLst>
      <p:ext uri="{BB962C8B-B14F-4D97-AF65-F5344CB8AC3E}">
        <p14:creationId xmlns:p14="http://schemas.microsoft.com/office/powerpoint/2010/main" val="3995070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>
  <p:cSld name="Title and Full Content - Subtitle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0"/>
          <p:cNvSpPr txBox="1">
            <a:spLocks noGrp="1"/>
          </p:cNvSpPr>
          <p:nvPr>
            <p:ph type="body" idx="1"/>
          </p:nvPr>
        </p:nvSpPr>
        <p:spPr>
          <a:xfrm>
            <a:off x="332185" y="1577578"/>
            <a:ext cx="84795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20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20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00" name="Google Shape;100;p20"/>
          <p:cNvSpPr txBox="1">
            <a:spLocks noGrp="1"/>
          </p:cNvSpPr>
          <p:nvPr>
            <p:ph type="subTitle" idx="2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01" name="Google Shape;101;p20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0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894"/>
            <a:ext cx="9143999" cy="3401112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3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258898" y="4058099"/>
            <a:ext cx="1636775" cy="983583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5522076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606680"/>
            <a:ext cx="5522076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52126" y="3253912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52126" y="3114781"/>
            <a:ext cx="2002444" cy="1310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77579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90900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4" y="1051"/>
          <a:ext cx="1444" cy="1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think-cell Slide" r:id="rId11" imgW="423" imgH="424" progId="TCLayout.ActiveDocument.1">
                  <p:embed/>
                </p:oleObj>
              </mc:Choice>
              <mc:Fallback>
                <p:oleObj name="think-cell Slide" r:id="rId11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44" y="1051"/>
                        <a:ext cx="1444" cy="1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2360815" cy="51435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926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407418" y="705971"/>
            <a:ext cx="881273" cy="502055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419" y="1361515"/>
            <a:ext cx="180738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419" y="4017453"/>
            <a:ext cx="180738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689262" y="1311089"/>
            <a:ext cx="5976851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89263" y="705971"/>
            <a:ext cx="2410201" cy="11202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89263" y="1361515"/>
            <a:ext cx="5972599" cy="271401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1213" y="4737982"/>
            <a:ext cx="2278051" cy="8156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98873" y="4851409"/>
            <a:ext cx="2085891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407418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652260" y="4858953"/>
            <a:ext cx="0" cy="6656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9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760169"/>
      </p:ext>
    </p:extLst>
  </p:cSld>
  <p:clrMapOvr>
    <a:masterClrMapping/>
  </p:clrMapOvr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6073" y="4738072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1979" y="961818"/>
            <a:ext cx="2928581" cy="3458517"/>
          </a:xfrm>
        </p:spPr>
        <p:txBody>
          <a:bodyPr/>
          <a:lstStyle>
            <a:lvl1pPr>
              <a:defRPr sz="596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282" y="961818"/>
            <a:ext cx="2928581" cy="3458517"/>
          </a:xfrm>
        </p:spPr>
        <p:txBody>
          <a:bodyPr/>
          <a:lstStyle>
            <a:lvl1pPr>
              <a:defRPr sz="596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2362565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926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407418" y="705971"/>
            <a:ext cx="881273" cy="502055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1212" y="4565718"/>
            <a:ext cx="1782425" cy="8156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530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419" y="1361515"/>
            <a:ext cx="1782425" cy="1120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419" y="3922635"/>
            <a:ext cx="1782425" cy="11202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98873" y="4851409"/>
            <a:ext cx="2085891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407418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652260" y="4858953"/>
            <a:ext cx="0" cy="6656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2533985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108820"/>
      </p:ext>
    </p:extLst>
  </p:cSld>
  <p:clrMapOvr>
    <a:masterClrMapping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912172"/>
            <a:ext cx="8179724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482138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4638502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638161171"/>
      </p:ext>
    </p:extLst>
  </p:cSld>
  <p:clrMapOvr>
    <a:masterClrMapping/>
  </p:clrMapOvr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912172"/>
            <a:ext cx="4023360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638502" y="1912172"/>
            <a:ext cx="4023360" cy="2680671"/>
          </a:xfrm>
        </p:spPr>
        <p:txBody>
          <a:bodyPr tIns="0" bIns="0"/>
          <a:lstStyle>
            <a:lvl1pPr>
              <a:defRPr sz="596">
                <a:latin typeface="+mn-lt"/>
              </a:defRPr>
            </a:lvl1pPr>
            <a:lvl2pPr>
              <a:defRPr sz="596">
                <a:latin typeface="+mn-lt"/>
              </a:defRPr>
            </a:lvl2pPr>
            <a:lvl3pPr>
              <a:defRPr sz="596">
                <a:latin typeface="+mn-lt"/>
              </a:defRPr>
            </a:lvl3pPr>
            <a:lvl4pPr>
              <a:defRPr sz="596">
                <a:latin typeface="+mn-lt"/>
              </a:defRPr>
            </a:lvl4pPr>
            <a:lvl5pPr>
              <a:defRPr sz="596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482138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638502" y="1324200"/>
            <a:ext cx="4023360" cy="490145"/>
          </a:xfrm>
        </p:spPr>
        <p:txBody>
          <a:bodyPr tIns="0" bIns="0"/>
          <a:lstStyle>
            <a:lvl1pPr>
              <a:defRPr sz="596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159341123"/>
      </p:ext>
    </p:extLst>
  </p:cSld>
  <p:clrMapOvr>
    <a:masterClrMapping/>
  </p:clrMapOvr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8179724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154862" marR="0" indent="-152479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309722" marR="0" indent="-151288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459819" marR="0" indent="-151288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97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267161"/>
      </p:ext>
    </p:extLst>
  </p:cSld>
  <p:clrMapOvr>
    <a:masterClrMapping/>
  </p:clrMapOvr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638502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1992473"/>
      </p:ext>
    </p:extLst>
  </p:cSld>
  <p:clrMapOvr>
    <a:masterClrMapping/>
  </p:clrMapOvr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5414819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026728" y="1361515"/>
            <a:ext cx="2629593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1273272"/>
      </p:ext>
    </p:extLst>
  </p:cSld>
  <p:clrMapOvr>
    <a:masterClrMapping/>
  </p:clrMapOvr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4020590" cy="1563221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82138" y="3031640"/>
            <a:ext cx="402059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4641273" y="1361515"/>
            <a:ext cx="4023360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091642"/>
      </p:ext>
    </p:extLst>
  </p:cSld>
  <p:clrMapOvr>
    <a:masterClrMapping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482138" y="1361515"/>
            <a:ext cx="4023360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4638502" y="1361515"/>
            <a:ext cx="4023360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482138" y="3032402"/>
            <a:ext cx="8179724" cy="156044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07447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">
  <p:cSld name="One Column Content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1"/>
          <p:cNvSpPr txBox="1">
            <a:spLocks noGrp="1"/>
          </p:cNvSpPr>
          <p:nvPr>
            <p:ph type="body" idx="1"/>
          </p:nvPr>
        </p:nvSpPr>
        <p:spPr>
          <a:xfrm>
            <a:off x="332186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21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75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21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07" name="Google Shape;107;p21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1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3254433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6026727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81075010"/>
      </p:ext>
    </p:extLst>
  </p:cSld>
  <p:clrMapOvr>
    <a:masterClrMapping/>
  </p:clrMapOvr>
  <p:hf sldNum="0"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361515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361515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3031640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3031640"/>
            <a:ext cx="4023360" cy="15612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14287663"/>
      </p:ext>
    </p:extLst>
  </p:cSld>
  <p:clrMapOvr>
    <a:masterClrMapping/>
  </p:clrMapOvr>
  <p:hf sldNum="0"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2152295483"/>
      </p:ext>
    </p:extLst>
  </p:cSld>
  <p:clrMapOvr>
    <a:masterClrMapping/>
  </p:clrMapOvr>
  <p:hf sldNum="0"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589052193"/>
      </p:ext>
    </p:extLst>
  </p:cSld>
  <p:clrMapOvr>
    <a:masterClrMapping/>
  </p:clrMapOvr>
  <p:hf sldNum="0"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580780105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255818" y="465941"/>
            <a:ext cx="5403273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627714765"/>
      </p:ext>
    </p:extLst>
  </p:cSld>
  <p:clrMapOvr>
    <a:masterClrMapping/>
  </p:clrMapOvr>
  <p:hf sldNum="0"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9" y="707987"/>
            <a:ext cx="2635135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9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3254433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6026727" y="1361515"/>
            <a:ext cx="2635135" cy="316900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3254433" y="712363"/>
            <a:ext cx="5407429" cy="556709"/>
          </a:xfrm>
        </p:spPr>
        <p:txBody>
          <a:bodyPr tIns="0" bIns="0"/>
          <a:lstStyle>
            <a:lvl1pPr>
              <a:defRPr sz="66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303391205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82138" y="707987"/>
            <a:ext cx="8179724" cy="556709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1853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482138" y="1361515"/>
            <a:ext cx="8179724" cy="323132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2138" y="4738072"/>
            <a:ext cx="926536" cy="8156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3593" y="4851409"/>
            <a:ext cx="222582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530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482139" y="4851409"/>
            <a:ext cx="212086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530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726980" y="4858953"/>
            <a:ext cx="0" cy="66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27742207"/>
      </p:ext>
    </p:extLst>
  </p:cSld>
  <p:clrMapOvr>
    <a:masterClrMapping/>
  </p:clrMapOvr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9207"/>
            <a:ext cx="5918662" cy="499012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2648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40434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9207"/>
            <a:ext cx="5918662" cy="499012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2648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187225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2"/>
          <p:cNvSpPr txBox="1">
            <a:spLocks noGrp="1"/>
          </p:cNvSpPr>
          <p:nvPr>
            <p:ph type="body" idx="1"/>
          </p:nvPr>
        </p:nvSpPr>
        <p:spPr>
          <a:xfrm>
            <a:off x="332186" y="1577578"/>
            <a:ext cx="2646675" cy="305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3200400" lvl="6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4114800" lvl="8" indent="-317500" algn="l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title"/>
          </p:nvPr>
        </p:nvSpPr>
        <p:spPr>
          <a:xfrm>
            <a:off x="332185" y="322886"/>
            <a:ext cx="8479575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22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3" name="Google Shape;113;p22"/>
          <p:cNvSpPr txBox="1">
            <a:spLocks noGrp="1"/>
          </p:cNvSpPr>
          <p:nvPr>
            <p:ph type="subTitle" idx="2"/>
          </p:nvPr>
        </p:nvSpPr>
        <p:spPr>
          <a:xfrm>
            <a:off x="332184" y="700075"/>
            <a:ext cx="8479575" cy="664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14" name="Google Shape;114;p22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75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22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35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5971"/>
            <a:ext cx="5919393" cy="502248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2648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808712"/>
      </p:ext>
    </p:extLst>
  </p:cSld>
  <p:clrMapOvr>
    <a:masterClrMapping/>
  </p:clrMapOvr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705971"/>
            <a:ext cx="5919393" cy="502248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2648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2999513" y="200538"/>
            <a:ext cx="5652655" cy="9169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596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895302" y="1573307"/>
            <a:ext cx="6766560" cy="30260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91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6377" y="4738072"/>
            <a:ext cx="365485" cy="815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181545" algn="r">
              <a:spcAft>
                <a:spcPts val="596"/>
              </a:spcAft>
            </a:pPr>
            <a:r>
              <a:rPr lang="en-GB" sz="530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70917" y="4840057"/>
            <a:ext cx="290945" cy="9291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662"/>
              </a:lnSpc>
            </a:pPr>
            <a:endParaRPr lang="en-GB" sz="530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258590" y="4851500"/>
            <a:ext cx="1936865" cy="815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3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255818" y="465941"/>
            <a:ext cx="5399468" cy="916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596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82138" y="465941"/>
            <a:ext cx="2758526" cy="9076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596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305120"/>
      </p:ext>
    </p:extLst>
  </p:cSld>
  <p:clrMapOvr>
    <a:masterClrMapping/>
  </p:clrMapOvr>
  <p:hf sldNum="0"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57200" y="342900"/>
            <a:ext cx="3981797" cy="1887967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674258" rtl="0" eaLnBrk="1" latinLnBrk="0" hangingPunct="1">
              <a:spcBef>
                <a:spcPct val="0"/>
              </a:spcBef>
              <a:buNone/>
              <a:defRPr lang="en-GB" sz="3177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674258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151280"/>
            <a:ext cx="1454727" cy="275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91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3705641"/>
            <a:ext cx="9144000" cy="143786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8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09060"/>
            <a:ext cx="8179724" cy="10287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2689267121"/>
      </p:ext>
    </p:extLst>
  </p:cSld>
  <p:clrMapOvr>
    <a:masterClrMapping/>
  </p:clrMapOvr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1870363" y="3"/>
            <a:ext cx="7273637" cy="5151259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6275652" cy="51435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80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6859616"/>
      </p:ext>
    </p:extLst>
  </p:cSld>
  <p:clrMapOvr>
    <a:masterClrMapping/>
  </p:clrMapOvr>
  <p:hf sldNum="0"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1870363" y="3"/>
            <a:ext cx="7273637" cy="5151259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6275652" cy="51435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80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8882741"/>
      </p:ext>
    </p:extLst>
  </p:cSld>
  <p:clrMapOvr>
    <a:masterClrMapping/>
  </p:clrMapOvr>
  <p:hf sldNum="0"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258897" y="4058098"/>
            <a:ext cx="1487978" cy="894166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452126" y="1592669"/>
            <a:ext cx="4711002" cy="431400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6742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648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52126" y="2047579"/>
            <a:ext cx="4711002" cy="137481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993" baseline="0">
                <a:solidFill>
                  <a:schemeClr val="bg1"/>
                </a:solidFill>
                <a:latin typeface="+mn-lt"/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2139" y="3132214"/>
            <a:ext cx="4680989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66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482139" y="2937725"/>
            <a:ext cx="2002444" cy="1374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0768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66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452125" y="2210633"/>
            <a:ext cx="1727657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7565541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057400" y="1"/>
            <a:ext cx="7086600" cy="51434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728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6275652" cy="51435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801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7453" y="3156043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427453" y="3541645"/>
            <a:ext cx="2443952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427453" y="2813797"/>
            <a:ext cx="2183264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453" y="1663306"/>
            <a:ext cx="4761151" cy="488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177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453" y="2608057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4180247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057400" y="1"/>
            <a:ext cx="7086600" cy="51434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728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6275652" cy="51435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801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7453" y="3156043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427453" y="3541645"/>
            <a:ext cx="2443952" cy="101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66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427453" y="2813797"/>
            <a:ext cx="2183264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993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731213" y="2375717"/>
            <a:ext cx="6109026" cy="211791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02277">
              <a:spcAft>
                <a:spcPts val="664"/>
              </a:spcAft>
            </a:pPr>
            <a:endParaRPr lang="en-GB" sz="1456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453" y="1663306"/>
            <a:ext cx="4761151" cy="488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177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7453" y="2608057"/>
            <a:ext cx="4761151" cy="1527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93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4289536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41ED8-AC2E-4560-8CC9-E6292DDF25B6}" type="datetime1">
              <a:rPr lang="en-US" smtClean="0"/>
              <a:t>03/0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40548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7FBD120B-8377-4641-9618-9DD682652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3529226"/>
            <a:ext cx="4383911" cy="1080000"/>
          </a:xfrm>
          <a:solidFill>
            <a:schemeClr val="bg1"/>
          </a:solidFill>
        </p:spPr>
        <p:txBody>
          <a:bodyPr lIns="792000"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985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57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tags" Target="../tags/tag2.xml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oleObject" Target="../embeddings/oleObject3.bin"/><Relationship Id="rId21" Type="http://schemas.openxmlformats.org/officeDocument/2006/relationships/slideLayout" Target="../slideLayouts/slideLayout90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tags" Target="../tags/tag241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tags" Target="../tags/tag240.xml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tags" Target="../tags/tag239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vmlDrawing" Target="../drawings/vmlDrawing3.vml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4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32185" y="1577579"/>
            <a:ext cx="8479631" cy="305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54" name="Google Shape;54;p13"/>
          <p:cNvSpPr txBox="1"/>
          <p:nvPr/>
        </p:nvSpPr>
        <p:spPr>
          <a:xfrm>
            <a:off x="332185" y="4869180"/>
            <a:ext cx="4105275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13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7" r:id="rId19"/>
    <p:sldLayoutId id="2147483678" r:id="rId20"/>
    <p:sldLayoutId id="2147483679" r:id="rId21"/>
    <p:sldLayoutId id="2147483680" r:id="rId22"/>
    <p:sldLayoutId id="2147483681" r:id="rId23"/>
    <p:sldLayoutId id="2147483682" r:id="rId24"/>
    <p:sldLayoutId id="2147483683" r:id="rId25"/>
    <p:sldLayoutId id="2147483684" r:id="rId26"/>
    <p:sldLayoutId id="2147483685" r:id="rId27"/>
    <p:sldLayoutId id="2147483686" r:id="rId28"/>
    <p:sldLayoutId id="2147483687" r:id="rId29"/>
    <p:sldLayoutId id="2147483688" r:id="rId30"/>
    <p:sldLayoutId id="2147483689" r:id="rId31"/>
    <p:sldLayoutId id="2147483690" r:id="rId32"/>
    <p:sldLayoutId id="2147483691" r:id="rId33"/>
    <p:sldLayoutId id="2147483692" r:id="rId34"/>
    <p:sldLayoutId id="2147483694" r:id="rId35"/>
    <p:sldLayoutId id="2147483765" r:id="rId3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209">
          <p15:clr>
            <a:srgbClr val="F26B43"/>
          </p15:clr>
        </p15:guide>
        <p15:guide id="3" pos="5551">
          <p15:clr>
            <a:srgbClr val="F26B43"/>
          </p15:clr>
        </p15:guide>
        <p15:guide id="4" pos="2965">
          <p15:clr>
            <a:srgbClr val="F26B43"/>
          </p15:clr>
        </p15:guide>
        <p15:guide id="5" pos="2795">
          <p15:clr>
            <a:srgbClr val="F26B43"/>
          </p15:clr>
        </p15:guide>
        <p15:guide id="6" orient="horz" pos="2916">
          <p15:clr>
            <a:srgbClr val="F26B43"/>
          </p15:clr>
        </p15:guide>
        <p15:guide id="7" pos="2045">
          <p15:clr>
            <a:srgbClr val="F26B43"/>
          </p15:clr>
        </p15:guide>
        <p15:guide id="8" pos="1877">
          <p15:clr>
            <a:srgbClr val="F26B43"/>
          </p15:clr>
        </p15:guide>
        <p15:guide id="9" pos="3714">
          <p15:clr>
            <a:srgbClr val="F26B43"/>
          </p15:clr>
        </p15:guide>
        <p15:guide id="10" pos="3883">
          <p15:clr>
            <a:srgbClr val="F26B43"/>
          </p15:clr>
        </p15:guide>
        <p15:guide id="11" orient="horz" pos="1620">
          <p15:clr>
            <a:srgbClr val="F26B43"/>
          </p15:clr>
        </p15:guide>
        <p15:guide id="12" orient="horz" pos="994">
          <p15:clr>
            <a:srgbClr val="F26B43"/>
          </p15:clr>
        </p15:guide>
        <p15:guide id="13" orient="horz" pos="859">
          <p15:clr>
            <a:srgbClr val="F26B43"/>
          </p15:clr>
        </p15:guide>
        <p15:guide id="14" orient="horz" pos="20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284095379"/>
              </p:ext>
            </p:extLst>
          </p:nvPr>
        </p:nvGraphicFramePr>
        <p:xfrm>
          <a:off x="1444" y="1051"/>
          <a:ext cx="1444" cy="1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39" imgW="415" imgH="416" progId="TCLayout.ActiveDocument.1">
                  <p:embed/>
                </p:oleObj>
              </mc:Choice>
              <mc:Fallback>
                <p:oleObj name="think-cell Slide" r:id="rId39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44" y="1051"/>
                        <a:ext cx="1444" cy="1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7"/>
            </p:custDataLst>
          </p:nvPr>
        </p:nvSpPr>
        <p:spPr>
          <a:xfrm>
            <a:off x="0" y="0"/>
            <a:ext cx="144318" cy="105056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1853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38"/>
            </p:custDataLst>
          </p:nvPr>
        </p:nvGrpSpPr>
        <p:grpSpPr>
          <a:xfrm>
            <a:off x="482138" y="405429"/>
            <a:ext cx="8179724" cy="4532331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530557">
                <a:buSzPct val="90000"/>
                <a:defRPr/>
              </a:pPr>
              <a:endParaRPr lang="en-GB" sz="926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707987"/>
            <a:ext cx="8179724" cy="5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138" y="1361515"/>
            <a:ext cx="8179724" cy="3230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0" y="4689662"/>
            <a:ext cx="1521229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CB83234-995D-4149-8E1E-BC120E9070D5}" type="datetime1">
              <a:rPr lang="en-US" smtClean="0"/>
              <a:t>03/0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2320" y="4792532"/>
            <a:ext cx="1521229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98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</p:sldLayoutIdLst>
  <p:hf sldNum="0" hdr="0" ftr="0" dt="0"/>
  <p:txStyles>
    <p:titleStyle>
      <a:lvl1pPr algn="l" defTabSz="674258" rtl="0" eaLnBrk="1" latinLnBrk="0" hangingPunct="1">
        <a:spcBef>
          <a:spcPct val="0"/>
        </a:spcBef>
        <a:buNone/>
        <a:defRPr sz="1853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Wingdings" pitchFamily="2" charset="2"/>
        <a:buNone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1pPr>
      <a:lvl2pPr marL="15549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Times New Roman" pitchFamily="18" charset="0"/>
        <a:buChar char="•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2pPr>
      <a:lvl3pPr marL="309722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Arial" pitchFamily="34" charset="0"/>
        <a:buChar char="-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3pPr>
      <a:lvl4pPr marL="459819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◦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4pPr>
      <a:lvl5pPr marL="60515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›"/>
        <a:tabLst/>
        <a:defRPr sz="728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54862" marR="0" indent="-152479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arabi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09722" marR="0" indent="-151288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alphaL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459819" marR="0" indent="-151288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romanL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Arial" pitchFamily="34" charset="0"/>
        <a:buNone/>
        <a:tabLst/>
        <a:defRPr lang="en-GB" sz="728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9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58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87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516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45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7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90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7032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761337760"/>
              </p:ext>
            </p:extLst>
          </p:nvPr>
        </p:nvGraphicFramePr>
        <p:xfrm>
          <a:off x="1444" y="1051"/>
          <a:ext cx="1444" cy="1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7" name="think-cell Slide" r:id="rId39" imgW="415" imgH="416" progId="TCLayout.ActiveDocument.1">
                  <p:embed/>
                </p:oleObj>
              </mc:Choice>
              <mc:Fallback>
                <p:oleObj name="think-cell Slide" r:id="rId39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44" y="1051"/>
                        <a:ext cx="1444" cy="1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7"/>
            </p:custDataLst>
          </p:nvPr>
        </p:nvSpPr>
        <p:spPr>
          <a:xfrm>
            <a:off x="0" y="0"/>
            <a:ext cx="144318" cy="105056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1853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38"/>
            </p:custDataLst>
          </p:nvPr>
        </p:nvGrpSpPr>
        <p:grpSpPr>
          <a:xfrm>
            <a:off x="482138" y="405429"/>
            <a:ext cx="8179724" cy="4532331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530557">
                <a:buSzPct val="90000"/>
                <a:defRPr/>
              </a:pPr>
              <a:endParaRPr lang="en-GB" sz="926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604100">
                  <a:defRPr/>
                </a:pPr>
                <a:endParaRPr lang="en-GB" sz="1191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707987"/>
            <a:ext cx="8179724" cy="5567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138" y="1361515"/>
            <a:ext cx="8179724" cy="3230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0" y="4689662"/>
            <a:ext cx="1521229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CB83234-995D-4149-8E1E-BC120E9070D5}" type="datetime1">
              <a:rPr lang="en-US" smtClean="0"/>
              <a:t>03/0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138" y="4689662"/>
            <a:ext cx="5253644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2320" y="4792532"/>
            <a:ext cx="1521229" cy="10287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596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12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58" r:id="rId27"/>
    <p:sldLayoutId id="2147483759" r:id="rId28"/>
    <p:sldLayoutId id="2147483760" r:id="rId29"/>
    <p:sldLayoutId id="2147483761" r:id="rId30"/>
    <p:sldLayoutId id="2147483762" r:id="rId31"/>
    <p:sldLayoutId id="2147483763" r:id="rId32"/>
    <p:sldLayoutId id="2147483764" r:id="rId33"/>
  </p:sldLayoutIdLst>
  <p:hf sldNum="0" hdr="0" ftr="0" dt="0"/>
  <p:txStyles>
    <p:titleStyle>
      <a:lvl1pPr algn="l" defTabSz="674258" rtl="0" eaLnBrk="1" latinLnBrk="0" hangingPunct="1">
        <a:spcBef>
          <a:spcPct val="0"/>
        </a:spcBef>
        <a:buNone/>
        <a:defRPr sz="1853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Wingdings" pitchFamily="2" charset="2"/>
        <a:buNone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1pPr>
      <a:lvl2pPr marL="15549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Times New Roman" pitchFamily="18" charset="0"/>
        <a:buChar char="•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2pPr>
      <a:lvl3pPr marL="309722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Arial" pitchFamily="34" charset="0"/>
        <a:buChar char="-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3pPr>
      <a:lvl4pPr marL="459819" marR="0" indent="-152479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◦"/>
        <a:tabLst/>
        <a:defRPr sz="728" kern="1200">
          <a:solidFill>
            <a:schemeClr val="tx1"/>
          </a:solidFill>
          <a:latin typeface="+mn-lt"/>
          <a:ea typeface="+mn-ea"/>
          <a:cs typeface="+mn-cs"/>
        </a:defRPr>
      </a:lvl4pPr>
      <a:lvl5pPr marL="605150" marR="0" indent="-151288" algn="l" defTabSz="674490" rtl="0" eaLnBrk="1" fontAlgn="base" latinLnBrk="0" hangingPunct="1">
        <a:lnSpc>
          <a:spcPct val="100000"/>
        </a:lnSpc>
        <a:spcBef>
          <a:spcPts val="0"/>
        </a:spcBef>
        <a:spcAft>
          <a:spcPts val="397"/>
        </a:spcAft>
        <a:buClr>
          <a:srgbClr val="000000"/>
        </a:buClr>
        <a:buSzTx/>
        <a:buFont typeface="Georgia" pitchFamily="18" charset="0"/>
        <a:buChar char="›"/>
        <a:tabLst/>
        <a:defRPr sz="728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54862" marR="0" indent="-152479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arabi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09722" marR="0" indent="-151288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alphaL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459819" marR="0" indent="-151288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+mj-lt"/>
        <a:buAutoNum type="romanLcPeriod"/>
        <a:tabLst/>
        <a:defRPr lang="en-GB" sz="728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674258" rtl="0" eaLnBrk="1" fontAlgn="auto" latinLnBrk="0" hangingPunct="1">
        <a:lnSpc>
          <a:spcPct val="100000"/>
        </a:lnSpc>
        <a:spcBef>
          <a:spcPts val="0"/>
        </a:spcBef>
        <a:spcAft>
          <a:spcPts val="397"/>
        </a:spcAft>
        <a:buClrTx/>
        <a:buSzTx/>
        <a:buFont typeface="Arial" pitchFamily="34" charset="0"/>
        <a:buNone/>
        <a:tabLst/>
        <a:defRPr lang="en-GB" sz="728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9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58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87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516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45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7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90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7032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22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7.png"/><Relationship Id="rId18" Type="http://schemas.openxmlformats.org/officeDocument/2006/relationships/image" Target="../media/image22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24.svg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20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23.png"/><Relationship Id="rId5" Type="http://schemas.openxmlformats.org/officeDocument/2006/relationships/image" Target="../media/image11.png"/><Relationship Id="rId15" Type="http://schemas.openxmlformats.org/officeDocument/2006/relationships/image" Target="../media/image19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1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12" Type="http://schemas.openxmlformats.org/officeDocument/2006/relationships/image" Target="../media/image12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11" Type="http://schemas.openxmlformats.org/officeDocument/2006/relationships/image" Target="../media/image11.png"/><Relationship Id="rId5" Type="http://schemas.openxmlformats.org/officeDocument/2006/relationships/image" Target="../media/image13.png"/><Relationship Id="rId10" Type="http://schemas.openxmlformats.org/officeDocument/2006/relationships/image" Target="../media/image22.svg"/><Relationship Id="rId4" Type="http://schemas.openxmlformats.org/officeDocument/2006/relationships/image" Target="../media/image18.svg"/><Relationship Id="rId9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21.png"/><Relationship Id="rId3" Type="http://schemas.openxmlformats.org/officeDocument/2006/relationships/image" Target="../media/image25.png"/><Relationship Id="rId7" Type="http://schemas.openxmlformats.org/officeDocument/2006/relationships/image" Target="../media/image13.png"/><Relationship Id="rId12" Type="http://schemas.openxmlformats.org/officeDocument/2006/relationships/image" Target="../media/image20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19.png"/><Relationship Id="rId5" Type="http://schemas.openxmlformats.org/officeDocument/2006/relationships/image" Target="../media/image11.png"/><Relationship Id="rId10" Type="http://schemas.openxmlformats.org/officeDocument/2006/relationships/image" Target="../media/image28.svg"/><Relationship Id="rId4" Type="http://schemas.openxmlformats.org/officeDocument/2006/relationships/image" Target="../media/image26.svg"/><Relationship Id="rId9" Type="http://schemas.openxmlformats.org/officeDocument/2006/relationships/image" Target="../media/image27.png"/><Relationship Id="rId14" Type="http://schemas.openxmlformats.org/officeDocument/2006/relationships/image" Target="../media/image2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19.png"/><Relationship Id="rId7" Type="http://schemas.openxmlformats.org/officeDocument/2006/relationships/image" Target="../media/image29.png"/><Relationship Id="rId12" Type="http://schemas.openxmlformats.org/officeDocument/2006/relationships/image" Target="../media/image32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image" Target="../media/image31.png"/><Relationship Id="rId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20.svg"/><Relationship Id="rId9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22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image" Target="../media/image10.sv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Google Shape;349;p50"/>
          <p:cNvSpPr txBox="1">
            <a:spLocks noGrp="1"/>
          </p:cNvSpPr>
          <p:nvPr>
            <p:ph type="ctrTitle"/>
          </p:nvPr>
        </p:nvSpPr>
        <p:spPr>
          <a:xfrm>
            <a:off x="457201" y="342900"/>
            <a:ext cx="3258104" cy="1885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eorgia"/>
              <a:buNone/>
            </a:pPr>
            <a:r>
              <a:rPr lang="en" dirty="0"/>
              <a:t>Blockchain based license management system for KMC</a:t>
            </a:r>
            <a:endParaRPr dirty="0"/>
          </a:p>
        </p:txBody>
      </p:sp>
      <p:sp>
        <p:nvSpPr>
          <p:cNvPr id="350" name="Google Shape;350;p50"/>
          <p:cNvSpPr txBox="1">
            <a:spLocks noGrp="1"/>
          </p:cNvSpPr>
          <p:nvPr>
            <p:ph type="subTitle" idx="1"/>
          </p:nvPr>
        </p:nvSpPr>
        <p:spPr>
          <a:xfrm>
            <a:off x="457200" y="2811780"/>
            <a:ext cx="3980260" cy="445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None/>
            </a:pPr>
            <a:r>
              <a:rPr lang="en-US" dirty="0"/>
              <a:t>February</a:t>
            </a:r>
            <a:r>
              <a:rPr lang="en" dirty="0"/>
              <a:t> 2022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61"/>
          <p:cNvSpPr txBox="1">
            <a:spLocks noGrp="1"/>
          </p:cNvSpPr>
          <p:nvPr>
            <p:ph type="title"/>
          </p:nvPr>
        </p:nvSpPr>
        <p:spPr>
          <a:xfrm>
            <a:off x="12401" y="101923"/>
            <a:ext cx="9119198" cy="397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Envisioned workflow - Scenario 2(Online application - Ceremonial house)</a:t>
            </a:r>
            <a:endParaRPr sz="2200" dirty="0"/>
          </a:p>
        </p:txBody>
      </p:sp>
      <p:sp>
        <p:nvSpPr>
          <p:cNvPr id="613" name="Google Shape;613;p61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614" name="Google Shape;614;p61"/>
          <p:cNvSpPr txBox="1"/>
          <p:nvPr/>
        </p:nvSpPr>
        <p:spPr>
          <a:xfrm>
            <a:off x="5440041" y="869400"/>
            <a:ext cx="3634803" cy="3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Ceremonial owner applies for new certificate via the KMC Portal on selecting a  broad category Ceremonial House/Banquet Hall/Club House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license fee is calculated and the demand is generat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der completes the payment and the CE number is generated successfully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application is process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inspection is scheduled for the application and is successfully completed by the Inspector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application details are shared with the Building Department via the proposed system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lvl="0" indent="-29210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Building Department sends their recommendation for approval of the generated CE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license department approves the application based on the feedback from the building department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A transaction is triggered into the blockchain based ledger and the specified data related to the certificate is record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nsaction is ordered into blocks and the world state is updated for the inform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32 bit transaction/asset hash is sent back to the KMC portal applic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hash is printed in form of QR code into the certificate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b="1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4B7A95-0B6B-4F96-979A-46FE0C54EA90}"/>
              </a:ext>
            </a:extLst>
          </p:cNvPr>
          <p:cNvCxnSpPr>
            <a:cxnSpLocks/>
          </p:cNvCxnSpPr>
          <p:nvPr/>
        </p:nvCxnSpPr>
        <p:spPr>
          <a:xfrm>
            <a:off x="5375669" y="929708"/>
            <a:ext cx="0" cy="3636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E30ECC0-A719-45AE-9407-3E23D8688123}"/>
              </a:ext>
            </a:extLst>
          </p:cNvPr>
          <p:cNvGrpSpPr/>
          <p:nvPr/>
        </p:nvGrpSpPr>
        <p:grpSpPr>
          <a:xfrm>
            <a:off x="-45748" y="528460"/>
            <a:ext cx="5373510" cy="4513117"/>
            <a:chOff x="3925074" y="475753"/>
            <a:chExt cx="5373510" cy="4513117"/>
          </a:xfrm>
        </p:grpSpPr>
        <p:pic>
          <p:nvPicPr>
            <p:cNvPr id="7" name="Graphic 6" descr="Male profile with solid fill">
              <a:extLst>
                <a:ext uri="{FF2B5EF4-FFF2-40B4-BE49-F238E27FC236}">
                  <a16:creationId xmlns:a16="http://schemas.microsoft.com/office/drawing/2014/main" id="{55A2FBDD-14A2-49AB-B7B6-30ED04DD6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67672" y="3746192"/>
              <a:ext cx="680037" cy="474891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E0EDFC6-8365-4711-ABCB-42925E79AC47}"/>
                </a:ext>
              </a:extLst>
            </p:cNvPr>
            <p:cNvSpPr txBox="1"/>
            <p:nvPr/>
          </p:nvSpPr>
          <p:spPr>
            <a:xfrm>
              <a:off x="3925074" y="4211186"/>
              <a:ext cx="170342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CE Applica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Ceremonial owner applies for CE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elects a broad trade category and submits corresponding supportive documents;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45F6D7FE-A9A1-46B4-AB6D-546979821C29}"/>
                </a:ext>
              </a:extLst>
            </p:cNvPr>
            <p:cNvCxnSpPr/>
            <p:nvPr/>
          </p:nvCxnSpPr>
          <p:spPr>
            <a:xfrm>
              <a:off x="5239944" y="4018750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phic 10" descr="Server with solid fill">
              <a:extLst>
                <a:ext uri="{FF2B5EF4-FFF2-40B4-BE49-F238E27FC236}">
                  <a16:creationId xmlns:a16="http://schemas.microsoft.com/office/drawing/2014/main" id="{2E5689EB-4719-42DF-9353-64EA130A7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9963" y="3744537"/>
              <a:ext cx="739108" cy="474892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147BB1-213E-499C-940C-7C08600D4A78}"/>
                </a:ext>
              </a:extLst>
            </p:cNvPr>
            <p:cNvSpPr txBox="1"/>
            <p:nvPr/>
          </p:nvSpPr>
          <p:spPr>
            <a:xfrm>
              <a:off x="5939191" y="4219429"/>
              <a:ext cx="132359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Fee computa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ystem computes license fee based on area and capacity parameters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Demand is generated;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C41D8DA-0690-4B0F-9C6C-5D7E914C10E1}"/>
                </a:ext>
              </a:extLst>
            </p:cNvPr>
            <p:cNvCxnSpPr/>
            <p:nvPr/>
          </p:nvCxnSpPr>
          <p:spPr>
            <a:xfrm>
              <a:off x="7138598" y="4018750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Graphic 13" descr="Checkmark with solid fill">
              <a:extLst>
                <a:ext uri="{FF2B5EF4-FFF2-40B4-BE49-F238E27FC236}">
                  <a16:creationId xmlns:a16="http://schemas.microsoft.com/office/drawing/2014/main" id="{10DB27E0-A6CD-4C8A-987E-811814033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5781" y="3744537"/>
              <a:ext cx="652989" cy="418451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73B202-44F1-4326-ABA6-6B6502BDEFD7}"/>
                </a:ext>
              </a:extLst>
            </p:cNvPr>
            <p:cNvSpPr txBox="1"/>
            <p:nvPr/>
          </p:nvSpPr>
          <p:spPr>
            <a:xfrm>
              <a:off x="7734248" y="4157873"/>
              <a:ext cx="156433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Payment comple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der completes the payment and CE number is generated in an e-Receipt with QR code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Application processing is initiated;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03132724-243D-4D6D-B89D-AF4CC718D50B}"/>
                </a:ext>
              </a:extLst>
            </p:cNvPr>
            <p:cNvCxnSpPr>
              <a:stCxn id="14" idx="0"/>
            </p:cNvCxnSpPr>
            <p:nvPr/>
          </p:nvCxnSpPr>
          <p:spPr>
            <a:xfrm flipH="1" flipV="1">
              <a:off x="8512275" y="3181190"/>
              <a:ext cx="1" cy="5633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phic 17" descr="Checklist with solid fill">
              <a:extLst>
                <a:ext uri="{FF2B5EF4-FFF2-40B4-BE49-F238E27FC236}">
                  <a16:creationId xmlns:a16="http://schemas.microsoft.com/office/drawing/2014/main" id="{DFA0E24F-E9DC-494A-8877-D3F8AB498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57592" y="2443929"/>
              <a:ext cx="709366" cy="64784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682EE3-88E3-45A0-BA01-A92178F6FA00}"/>
                </a:ext>
              </a:extLst>
            </p:cNvPr>
            <p:cNvSpPr txBox="1"/>
            <p:nvPr/>
          </p:nvSpPr>
          <p:spPr>
            <a:xfrm>
              <a:off x="7276133" y="2389451"/>
              <a:ext cx="105744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Inspec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crutiny of application by the license department inspector;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5035380-5705-48A7-836A-06C111C7F012}"/>
                </a:ext>
              </a:extLst>
            </p:cNvPr>
            <p:cNvSpPr txBox="1"/>
            <p:nvPr/>
          </p:nvSpPr>
          <p:spPr>
            <a:xfrm>
              <a:off x="8471692" y="1806284"/>
              <a:ext cx="79053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Georgia" panose="02040502050405020303" pitchFamily="18" charset="0"/>
                </a:rPr>
                <a:t>Application details sent to building department;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540DF42-A0FF-4C86-BC4A-584E321C4586}"/>
                </a:ext>
              </a:extLst>
            </p:cNvPr>
            <p:cNvSpPr txBox="1"/>
            <p:nvPr/>
          </p:nvSpPr>
          <p:spPr>
            <a:xfrm>
              <a:off x="7971571" y="579318"/>
              <a:ext cx="118616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Recommendations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Building department sends recommendations;</a:t>
              </a:r>
            </a:p>
          </p:txBody>
        </p:sp>
        <p:pic>
          <p:nvPicPr>
            <p:cNvPr id="27" name="Graphic 26" descr="Office worker male with solid fill">
              <a:extLst>
                <a:ext uri="{FF2B5EF4-FFF2-40B4-BE49-F238E27FC236}">
                  <a16:creationId xmlns:a16="http://schemas.microsoft.com/office/drawing/2014/main" id="{E05AE5D3-5927-4A7C-B506-F87F3F286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598505" y="1111165"/>
              <a:ext cx="677628" cy="58477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B59A7C4-5081-4F2C-88FC-8DB519F1B87D}"/>
                </a:ext>
              </a:extLst>
            </p:cNvPr>
            <p:cNvSpPr txBox="1"/>
            <p:nvPr/>
          </p:nvSpPr>
          <p:spPr>
            <a:xfrm>
              <a:off x="6301244" y="475753"/>
              <a:ext cx="148614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Decision update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License department approves/rejects application based on received recommendations;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806EFD96-56B3-4B1A-814A-B569E2FC943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65714" y="1384134"/>
              <a:ext cx="69756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D77F1EE-F6F2-4544-9D99-EE328A1ACAF0}"/>
                </a:ext>
              </a:extLst>
            </p:cNvPr>
            <p:cNvSpPr txBox="1"/>
            <p:nvPr/>
          </p:nvSpPr>
          <p:spPr>
            <a:xfrm>
              <a:off x="5358454" y="1399524"/>
              <a:ext cx="12175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Georgia" panose="02040502050405020303" pitchFamily="18" charset="0"/>
                </a:rPr>
                <a:t>Application approved by license department;</a:t>
              </a:r>
            </a:p>
          </p:txBody>
        </p:sp>
        <p:pic>
          <p:nvPicPr>
            <p:cNvPr id="31" name="Graphic 30" descr="Blockchain with solid fill">
              <a:extLst>
                <a:ext uri="{FF2B5EF4-FFF2-40B4-BE49-F238E27FC236}">
                  <a16:creationId xmlns:a16="http://schemas.microsoft.com/office/drawing/2014/main" id="{FEB60C1C-7F68-42AD-B5FB-89D815722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533802" y="1115310"/>
              <a:ext cx="830941" cy="621521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9DFE975-11E2-4899-AAB0-DD134DA62993}"/>
                </a:ext>
              </a:extLst>
            </p:cNvPr>
            <p:cNvSpPr txBox="1"/>
            <p:nvPr/>
          </p:nvSpPr>
          <p:spPr>
            <a:xfrm>
              <a:off x="4060691" y="475753"/>
              <a:ext cx="195441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Blockchain ledger update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triggered into blockchain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pecified data related to certificate is recorded immutably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is ordered into blocks;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173A53A9-25E9-4532-A05E-8F4167333B67}"/>
                </a:ext>
              </a:extLst>
            </p:cNvPr>
            <p:cNvCxnSpPr/>
            <p:nvPr/>
          </p:nvCxnSpPr>
          <p:spPr>
            <a:xfrm>
              <a:off x="4925466" y="1806284"/>
              <a:ext cx="0" cy="5847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Graphic 34" descr="Internet with solid fill">
              <a:extLst>
                <a:ext uri="{FF2B5EF4-FFF2-40B4-BE49-F238E27FC236}">
                  <a16:creationId xmlns:a16="http://schemas.microsoft.com/office/drawing/2014/main" id="{CAEAD4B0-3C39-40EF-83AF-4D84EF997B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55913" y="2354640"/>
              <a:ext cx="739105" cy="584775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A4CB3B9-C61B-4E82-A169-32A31EF39827}"/>
                </a:ext>
              </a:extLst>
            </p:cNvPr>
            <p:cNvSpPr txBox="1"/>
            <p:nvPr/>
          </p:nvSpPr>
          <p:spPr>
            <a:xfrm>
              <a:off x="4244559" y="2827247"/>
              <a:ext cx="151520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Hash in certificate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hash sent back to KMC portal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Hash is printed in form of QR code into the certificate;</a:t>
              </a:r>
            </a:p>
          </p:txBody>
        </p:sp>
        <p:pic>
          <p:nvPicPr>
            <p:cNvPr id="37" name="Graphic 36" descr="Court with solid fill">
              <a:extLst>
                <a:ext uri="{FF2B5EF4-FFF2-40B4-BE49-F238E27FC236}">
                  <a16:creationId xmlns:a16="http://schemas.microsoft.com/office/drawing/2014/main" id="{E5030DB3-6431-4BA3-ADBA-9DDC0D36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185781" y="1079974"/>
              <a:ext cx="709366" cy="647849"/>
            </a:xfrm>
            <a:prstGeom prst="rect">
              <a:avLst/>
            </a:prstGeom>
          </p:spPr>
        </p:pic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14712389-5C99-48EE-BEAA-A3F9DBDB0B6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38608" y="1402160"/>
              <a:ext cx="69756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8D8266E3-6BB4-484B-A17C-4ABD1A5AC1D8}"/>
                </a:ext>
              </a:extLst>
            </p:cNvPr>
            <p:cNvCxnSpPr/>
            <p:nvPr/>
          </p:nvCxnSpPr>
          <p:spPr>
            <a:xfrm flipH="1" flipV="1">
              <a:off x="8509551" y="1756992"/>
              <a:ext cx="1" cy="5633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9" name="Google Shape;619;p62"/>
          <p:cNvSpPr txBox="1">
            <a:spLocks noGrp="1"/>
          </p:cNvSpPr>
          <p:nvPr>
            <p:ph type="title"/>
          </p:nvPr>
        </p:nvSpPr>
        <p:spPr>
          <a:xfrm>
            <a:off x="97512" y="47459"/>
            <a:ext cx="8903701" cy="617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Envisioned workflow - Scenario 3 (Permanent trade category restricted for online application)</a:t>
            </a:r>
            <a:endParaRPr sz="2200" dirty="0"/>
          </a:p>
        </p:txBody>
      </p:sp>
      <p:sp>
        <p:nvSpPr>
          <p:cNvPr id="620" name="Google Shape;620;p62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sp>
        <p:nvSpPr>
          <p:cNvPr id="621" name="Google Shape;621;p62"/>
          <p:cNvSpPr txBox="1"/>
          <p:nvPr/>
        </p:nvSpPr>
        <p:spPr>
          <a:xfrm>
            <a:off x="5710219" y="908345"/>
            <a:ext cx="3368131" cy="3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rader applies for new certificate via the KMC Portal by </a:t>
            </a:r>
            <a:r>
              <a:rPr lang="en-US" sz="1000" dirty="0">
                <a:solidFill>
                  <a:srgbClr val="000000"/>
                </a:solidFill>
                <a:effectLst/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giving details about the Type of Business 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license fee is </a:t>
            </a:r>
            <a:r>
              <a:rPr lang="en-US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calculated,</a:t>
            </a: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 and the demand is generat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der completes the </a:t>
            </a:r>
            <a:r>
              <a:rPr lang="en-US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payment,</a:t>
            </a: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 and the CE number is generated successfully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application is process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inspection is scheduled by the application and is successfully completed by the Inspector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application details are shared with other departments  via the proposed system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lvl="0" indent="-29210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Other departments sends their recommendation for approval of the generated CE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license department approves the application based on the feedback from other departments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A transaction is triggered into the blockchain based ledger and the specified data related to the certificate is record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nsaction is ordered into blocks and the world state is updated for the inform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</a:t>
            </a:r>
            <a:r>
              <a:rPr lang="en-US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32-bit</a:t>
            </a: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 transaction/asset hash is sent back to the KMC portal applic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hash is printed in form of QR code into the certificate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b="1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8C3B8EF-48B7-4D4A-B2B3-241E2CA2ACAA}"/>
              </a:ext>
            </a:extLst>
          </p:cNvPr>
          <p:cNvCxnSpPr>
            <a:cxnSpLocks/>
          </p:cNvCxnSpPr>
          <p:nvPr/>
        </p:nvCxnSpPr>
        <p:spPr>
          <a:xfrm>
            <a:off x="5630620" y="908345"/>
            <a:ext cx="0" cy="3636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F04E9AE3-0F46-4AAE-83E2-D36816FB76BF}"/>
              </a:ext>
            </a:extLst>
          </p:cNvPr>
          <p:cNvGrpSpPr/>
          <p:nvPr/>
        </p:nvGrpSpPr>
        <p:grpSpPr>
          <a:xfrm>
            <a:off x="97512" y="668458"/>
            <a:ext cx="5327412" cy="4413554"/>
            <a:chOff x="-398104" y="1162400"/>
            <a:chExt cx="5327412" cy="4413554"/>
          </a:xfrm>
        </p:grpSpPr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2A0049FE-7BC1-4046-96FF-20E92DC9B60A}"/>
                </a:ext>
              </a:extLst>
            </p:cNvPr>
            <p:cNvCxnSpPr/>
            <p:nvPr/>
          </p:nvCxnSpPr>
          <p:spPr>
            <a:xfrm flipH="1" flipV="1">
              <a:off x="4118374" y="2378508"/>
              <a:ext cx="1" cy="5633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CCBDC55-A57A-4368-B999-E6006C9DF003}"/>
                </a:ext>
              </a:extLst>
            </p:cNvPr>
            <p:cNvGrpSpPr/>
            <p:nvPr/>
          </p:nvGrpSpPr>
          <p:grpSpPr>
            <a:xfrm>
              <a:off x="-398104" y="1162400"/>
              <a:ext cx="5327412" cy="4413554"/>
              <a:chOff x="3995797" y="518267"/>
              <a:chExt cx="5327412" cy="441355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FFC5FE45-5E01-4593-A85D-4E7FC6592C57}"/>
                  </a:ext>
                </a:extLst>
              </p:cNvPr>
              <p:cNvGrpSpPr/>
              <p:nvPr/>
            </p:nvGrpSpPr>
            <p:grpSpPr>
              <a:xfrm>
                <a:off x="3995797" y="518267"/>
                <a:ext cx="5327412" cy="4413554"/>
                <a:chOff x="3995797" y="513761"/>
                <a:chExt cx="5327412" cy="4413554"/>
              </a:xfrm>
            </p:grpSpPr>
            <p:pic>
              <p:nvPicPr>
                <p:cNvPr id="67" name="Graphic 66" descr="Male profile with solid fill">
                  <a:extLst>
                    <a:ext uri="{FF2B5EF4-FFF2-40B4-BE49-F238E27FC236}">
                      <a16:creationId xmlns:a16="http://schemas.microsoft.com/office/drawing/2014/main" id="{09BED2BC-CDBA-4BF3-AC73-D12EA19B1D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10199" y="3716316"/>
                  <a:ext cx="680037" cy="474891"/>
                </a:xfrm>
                <a:prstGeom prst="rect">
                  <a:avLst/>
                </a:prstGeom>
              </p:spPr>
            </p:pic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2DB45E45-CB8D-4C6B-BC80-0C983EF8D31A}"/>
                    </a:ext>
                  </a:extLst>
                </p:cNvPr>
                <p:cNvSpPr txBox="1"/>
                <p:nvPr/>
              </p:nvSpPr>
              <p:spPr>
                <a:xfrm>
                  <a:off x="3995797" y="4219429"/>
                  <a:ext cx="1323593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CE Application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Trader applies for CE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Selects type of business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Submits corresponding supportive documents;</a:t>
                  </a:r>
                </a:p>
              </p:txBody>
            </p:sp>
            <p:cxnSp>
              <p:nvCxnSpPr>
                <p:cNvPr id="69" name="Straight Arrow Connector 68">
                  <a:extLst>
                    <a:ext uri="{FF2B5EF4-FFF2-40B4-BE49-F238E27FC236}">
                      <a16:creationId xmlns:a16="http://schemas.microsoft.com/office/drawing/2014/main" id="{4603F7D4-2F2D-4F5E-B526-7B20BF8D2B8C}"/>
                    </a:ext>
                  </a:extLst>
                </p:cNvPr>
                <p:cNvCxnSpPr/>
                <p:nvPr/>
              </p:nvCxnSpPr>
              <p:spPr>
                <a:xfrm>
                  <a:off x="5127115" y="4026434"/>
                  <a:ext cx="699247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0" name="Graphic 69" descr="Server with solid fill">
                  <a:extLst>
                    <a:ext uri="{FF2B5EF4-FFF2-40B4-BE49-F238E27FC236}">
                      <a16:creationId xmlns:a16="http://schemas.microsoft.com/office/drawing/2014/main" id="{66213667-B3B6-449E-9E3C-1BBBF921A9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99304" y="3744537"/>
                  <a:ext cx="739108" cy="474892"/>
                </a:xfrm>
                <a:prstGeom prst="rect">
                  <a:avLst/>
                </a:prstGeom>
              </p:spPr>
            </p:pic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817844CD-B0A5-4D2B-B883-FF206351B55F}"/>
                    </a:ext>
                  </a:extLst>
                </p:cNvPr>
                <p:cNvSpPr txBox="1"/>
                <p:nvPr/>
              </p:nvSpPr>
              <p:spPr>
                <a:xfrm>
                  <a:off x="5939191" y="4219429"/>
                  <a:ext cx="1323593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Fee computation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System computes license fee based on area and capacity parameters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Demand is generated;</a:t>
                  </a:r>
                </a:p>
              </p:txBody>
            </p:sp>
            <p:pic>
              <p:nvPicPr>
                <p:cNvPr id="72" name="Graphic 71" descr="Checkmark with solid fill">
                  <a:extLst>
                    <a:ext uri="{FF2B5EF4-FFF2-40B4-BE49-F238E27FC236}">
                      <a16:creationId xmlns:a16="http://schemas.microsoft.com/office/drawing/2014/main" id="{5C659D04-7FA5-466D-B087-FA8AD5F450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85781" y="3744537"/>
                  <a:ext cx="652989" cy="418451"/>
                </a:xfrm>
                <a:prstGeom prst="rect">
                  <a:avLst/>
                </a:prstGeom>
              </p:spPr>
            </p:pic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161AB334-2369-4547-8170-6C2A4DDCDF71}"/>
                    </a:ext>
                  </a:extLst>
                </p:cNvPr>
                <p:cNvSpPr txBox="1"/>
                <p:nvPr/>
              </p:nvSpPr>
              <p:spPr>
                <a:xfrm>
                  <a:off x="7446650" y="4218426"/>
                  <a:ext cx="1787191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Payment completion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Trader completes the payment and CE number is generated in an e-Receipt with QR code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Application processing is initiated;</a:t>
                  </a:r>
                </a:p>
              </p:txBody>
            </p:sp>
            <p:cxnSp>
              <p:nvCxnSpPr>
                <p:cNvPr id="74" name="Straight Arrow Connector 73">
                  <a:extLst>
                    <a:ext uri="{FF2B5EF4-FFF2-40B4-BE49-F238E27FC236}">
                      <a16:creationId xmlns:a16="http://schemas.microsoft.com/office/drawing/2014/main" id="{4142B015-A986-465C-B585-ED1273EBE532}"/>
                    </a:ext>
                  </a:extLst>
                </p:cNvPr>
                <p:cNvCxnSpPr/>
                <p:nvPr/>
              </p:nvCxnSpPr>
              <p:spPr>
                <a:xfrm>
                  <a:off x="7138598" y="3957277"/>
                  <a:ext cx="699247" cy="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Arrow Connector 74">
                  <a:extLst>
                    <a:ext uri="{FF2B5EF4-FFF2-40B4-BE49-F238E27FC236}">
                      <a16:creationId xmlns:a16="http://schemas.microsoft.com/office/drawing/2014/main" id="{1742C1EF-42A0-4541-A074-1F51522263BF}"/>
                    </a:ext>
                  </a:extLst>
                </p:cNvPr>
                <p:cNvCxnSpPr/>
                <p:nvPr/>
              </p:nvCxnSpPr>
              <p:spPr>
                <a:xfrm flipH="1" flipV="1">
                  <a:off x="8512275" y="3181190"/>
                  <a:ext cx="1" cy="56334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6" name="Graphic 75" descr="Checklist with solid fill">
                  <a:extLst>
                    <a:ext uri="{FF2B5EF4-FFF2-40B4-BE49-F238E27FC236}">
                      <a16:creationId xmlns:a16="http://schemas.microsoft.com/office/drawing/2014/main" id="{330B371E-2261-42F5-9394-37099ECFC3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57592" y="2443929"/>
                  <a:ext cx="709366" cy="647849"/>
                </a:xfrm>
                <a:prstGeom prst="rect">
                  <a:avLst/>
                </a:prstGeom>
              </p:spPr>
            </p:pic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DB2B165B-9117-44CF-ADE3-70706A0EC8C4}"/>
                    </a:ext>
                  </a:extLst>
                </p:cNvPr>
                <p:cNvSpPr txBox="1"/>
                <p:nvPr/>
              </p:nvSpPr>
              <p:spPr>
                <a:xfrm>
                  <a:off x="7203811" y="2388505"/>
                  <a:ext cx="1057444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Inspection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Scrutiny of application by the license department inspector;</a:t>
                  </a: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6BD269C8-B1AF-4931-AE10-F3F69A8D2A7E}"/>
                    </a:ext>
                  </a:extLst>
                </p:cNvPr>
                <p:cNvSpPr txBox="1"/>
                <p:nvPr/>
              </p:nvSpPr>
              <p:spPr>
                <a:xfrm>
                  <a:off x="8471692" y="1773175"/>
                  <a:ext cx="790531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800">
                      <a:latin typeface="Georgia" panose="02040502050405020303" pitchFamily="18" charset="0"/>
                    </a:rPr>
                    <a:t>Application details sent to other departments;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55D668E7-FEB5-4315-A413-8CEEE317A693}"/>
                    </a:ext>
                  </a:extLst>
                </p:cNvPr>
                <p:cNvSpPr txBox="1"/>
                <p:nvPr/>
              </p:nvSpPr>
              <p:spPr>
                <a:xfrm>
                  <a:off x="5422613" y="1406477"/>
                  <a:ext cx="1217529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800">
                      <a:latin typeface="Georgia" panose="02040502050405020303" pitchFamily="18" charset="0"/>
                    </a:rPr>
                    <a:t>Application approved by license department;</a:t>
                  </a:r>
                </a:p>
              </p:txBody>
            </p:sp>
            <p:pic>
              <p:nvPicPr>
                <p:cNvPr id="80" name="Graphic 79" descr="Court with solid fill">
                  <a:extLst>
                    <a:ext uri="{FF2B5EF4-FFF2-40B4-BE49-F238E27FC236}">
                      <a16:creationId xmlns:a16="http://schemas.microsoft.com/office/drawing/2014/main" id="{445556C7-ADF7-401D-86A1-849196F909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85781" y="1079974"/>
                  <a:ext cx="709366" cy="647849"/>
                </a:xfrm>
                <a:prstGeom prst="rect">
                  <a:avLst/>
                </a:prstGeom>
              </p:spPr>
            </p:pic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AE258694-2FB2-48B2-BA9E-A314DCC509CE}"/>
                    </a:ext>
                  </a:extLst>
                </p:cNvPr>
                <p:cNvSpPr txBox="1"/>
                <p:nvPr/>
              </p:nvSpPr>
              <p:spPr>
                <a:xfrm>
                  <a:off x="8026684" y="579504"/>
                  <a:ext cx="1296525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Recommendations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Other departments send their recommendations;</a:t>
                  </a:r>
                </a:p>
              </p:txBody>
            </p:sp>
            <p:cxnSp>
              <p:nvCxnSpPr>
                <p:cNvPr id="82" name="Straight Arrow Connector 81">
                  <a:extLst>
                    <a:ext uri="{FF2B5EF4-FFF2-40B4-BE49-F238E27FC236}">
                      <a16:creationId xmlns:a16="http://schemas.microsoft.com/office/drawing/2014/main" id="{DD5064CD-7554-443D-AD2C-3A6AB95C34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460032" y="1406476"/>
                  <a:ext cx="697560" cy="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3" name="Graphic 82" descr="Office worker male with solid fill">
                  <a:extLst>
                    <a:ext uri="{FF2B5EF4-FFF2-40B4-BE49-F238E27FC236}">
                      <a16:creationId xmlns:a16="http://schemas.microsoft.com/office/drawing/2014/main" id="{572B1AAF-3523-43C0-95C1-6F66C0A224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96392" y="1118054"/>
                  <a:ext cx="677628" cy="584775"/>
                </a:xfrm>
                <a:prstGeom prst="rect">
                  <a:avLst/>
                </a:prstGeom>
              </p:spPr>
            </p:pic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275F5058-F8C4-4DE5-9519-628573F58719}"/>
                    </a:ext>
                  </a:extLst>
                </p:cNvPr>
                <p:cNvSpPr txBox="1"/>
                <p:nvPr/>
              </p:nvSpPr>
              <p:spPr>
                <a:xfrm>
                  <a:off x="6197349" y="563516"/>
                  <a:ext cx="1749737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Decision update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License department approves/rejects application based on received recommendations;</a:t>
                  </a:r>
                </a:p>
              </p:txBody>
            </p:sp>
            <p:cxnSp>
              <p:nvCxnSpPr>
                <p:cNvPr id="85" name="Straight Arrow Connector 84">
                  <a:extLst>
                    <a:ext uri="{FF2B5EF4-FFF2-40B4-BE49-F238E27FC236}">
                      <a16:creationId xmlns:a16="http://schemas.microsoft.com/office/drawing/2014/main" id="{AF378F1C-6D84-4190-8641-5F070C15E9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579524" y="1378351"/>
                  <a:ext cx="816002" cy="738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6" name="Graphic 85" descr="Blockchain with solid fill">
                  <a:extLst>
                    <a:ext uri="{FF2B5EF4-FFF2-40B4-BE49-F238E27FC236}">
                      <a16:creationId xmlns:a16="http://schemas.microsoft.com/office/drawing/2014/main" id="{7A5468B4-8E46-474B-A17F-15A14A6B59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88449" y="1193876"/>
                  <a:ext cx="830941" cy="621521"/>
                </a:xfrm>
                <a:prstGeom prst="rect">
                  <a:avLst/>
                </a:prstGeom>
              </p:spPr>
            </p:pic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BA9423CB-6CF4-4BC9-88A5-B97C012F25ED}"/>
                    </a:ext>
                  </a:extLst>
                </p:cNvPr>
                <p:cNvSpPr txBox="1"/>
                <p:nvPr/>
              </p:nvSpPr>
              <p:spPr>
                <a:xfrm>
                  <a:off x="4033211" y="513761"/>
                  <a:ext cx="2016605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>
                      <a:latin typeface="Georgia" panose="02040502050405020303" pitchFamily="18" charset="0"/>
                    </a:rPr>
                    <a:t>Blockchain ledger update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Transaction triggered into blockchain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Specified data related to certificate is recorded immutably;</a:t>
                  </a:r>
                </a:p>
                <a:p>
                  <a:r>
                    <a:rPr lang="en-US" sz="800">
                      <a:latin typeface="Georgia" panose="02040502050405020303" pitchFamily="18" charset="0"/>
                    </a:rPr>
                    <a:t>Transaction is ordered into blocks;</a:t>
                  </a:r>
                </a:p>
              </p:txBody>
            </p:sp>
          </p:grpSp>
          <p:cxnSp>
            <p:nvCxnSpPr>
              <p:cNvPr id="64" name="Straight Arrow Connector 63">
                <a:extLst>
                  <a:ext uri="{FF2B5EF4-FFF2-40B4-BE49-F238E27FC236}">
                    <a16:creationId xmlns:a16="http://schemas.microsoft.com/office/drawing/2014/main" id="{1CED0D4A-9EFF-4C9D-A733-744D6BE66B28}"/>
                  </a:ext>
                </a:extLst>
              </p:cNvPr>
              <p:cNvCxnSpPr/>
              <p:nvPr/>
            </p:nvCxnSpPr>
            <p:spPr>
              <a:xfrm>
                <a:off x="4925466" y="1810790"/>
                <a:ext cx="0" cy="58477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E6ABD5E-0736-41CF-9622-43D2F89443CF}"/>
                  </a:ext>
                </a:extLst>
              </p:cNvPr>
              <p:cNvSpPr txBox="1"/>
              <p:nvPr/>
            </p:nvSpPr>
            <p:spPr>
              <a:xfrm>
                <a:off x="4232632" y="2848016"/>
                <a:ext cx="1515207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Hash in certificate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Transaction hash sent back to KMC portal;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Hash is printed in form of QR code into the certificate;</a:t>
                </a:r>
              </a:p>
            </p:txBody>
          </p:sp>
          <p:pic>
            <p:nvPicPr>
              <p:cNvPr id="66" name="Graphic 65" descr="Internet with solid fill">
                <a:extLst>
                  <a:ext uri="{FF2B5EF4-FFF2-40B4-BE49-F238E27FC236}">
                    <a16:creationId xmlns:a16="http://schemas.microsoft.com/office/drawing/2014/main" id="{4E9B2C35-5A06-452D-8206-C182DA784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4574173" y="2362457"/>
                <a:ext cx="739105" cy="600580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63"/>
          <p:cNvSpPr txBox="1">
            <a:spLocks noGrp="1"/>
          </p:cNvSpPr>
          <p:nvPr>
            <p:ph type="title"/>
          </p:nvPr>
        </p:nvSpPr>
        <p:spPr>
          <a:xfrm>
            <a:off x="175182" y="105738"/>
            <a:ext cx="8890106" cy="4050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-US" sz="2200" dirty="0"/>
              <a:t>Envisioned workflow - Scenario 4 (Spot registration through Bailiff)</a:t>
            </a:r>
          </a:p>
        </p:txBody>
      </p:sp>
      <p:sp>
        <p:nvSpPr>
          <p:cNvPr id="627" name="Google Shape;627;p6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2</a:t>
            </a:fld>
            <a:endParaRPr/>
          </a:p>
        </p:txBody>
      </p:sp>
      <p:sp>
        <p:nvSpPr>
          <p:cNvPr id="628" name="Google Shape;628;p63"/>
          <p:cNvSpPr txBox="1"/>
          <p:nvPr/>
        </p:nvSpPr>
        <p:spPr>
          <a:xfrm>
            <a:off x="5368564" y="958311"/>
            <a:ext cx="3696724" cy="3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department officials visit such sites with hand-held device to initiate application process.</a:t>
            </a:r>
          </a:p>
          <a:p>
            <a:pPr marL="457200" lvl="0" indent="-29210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Times New Roman"/>
                <a:cs typeface="Times New Roman"/>
                <a:sym typeface="Times New Roman"/>
              </a:rPr>
              <a:t> </a:t>
            </a: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department official uses the mobile application to fill the application on behalf of the applicant and upload supporting documents.</a:t>
            </a:r>
          </a:p>
          <a:p>
            <a:pPr marL="457200" lvl="0" indent="-2921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license fee is calculated, and the demand is generated.</a:t>
            </a:r>
          </a:p>
          <a:p>
            <a:pPr marL="457200" lvl="0" indent="-2921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trader completes the payment through cash/UPI/net banking and the CE number is generated successfully.</a:t>
            </a: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application is processed.</a:t>
            </a: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 transaction is triggered into the blockchain based ledger and the specified data related to the certificate is recorded.</a:t>
            </a: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transaction is ordered into blocks and the world state is updated for the information.</a:t>
            </a: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32-bit transaction/asset hash is sent back to the KMC portal application.</a:t>
            </a: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hash is printed in form of QR code into the certificate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b="1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A19C78-E875-480D-AE21-056F3BC01CB3}"/>
              </a:ext>
            </a:extLst>
          </p:cNvPr>
          <p:cNvCxnSpPr>
            <a:cxnSpLocks/>
            <a:endCxn id="12" idx="3"/>
          </p:cNvCxnSpPr>
          <p:nvPr/>
        </p:nvCxnSpPr>
        <p:spPr>
          <a:xfrm>
            <a:off x="5381456" y="880331"/>
            <a:ext cx="29708" cy="36762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B706A78-1FA6-40D2-95E5-B2A2B64EBF7B}"/>
              </a:ext>
            </a:extLst>
          </p:cNvPr>
          <p:cNvGrpSpPr/>
          <p:nvPr/>
        </p:nvGrpSpPr>
        <p:grpSpPr>
          <a:xfrm>
            <a:off x="17898" y="641325"/>
            <a:ext cx="5393266" cy="4374142"/>
            <a:chOff x="3926399" y="698754"/>
            <a:chExt cx="5393266" cy="4374142"/>
          </a:xfrm>
        </p:grpSpPr>
        <p:pic>
          <p:nvPicPr>
            <p:cNvPr id="6" name="Graphic 5" descr="Office worker male with solid fill">
              <a:extLst>
                <a:ext uri="{FF2B5EF4-FFF2-40B4-BE49-F238E27FC236}">
                  <a16:creationId xmlns:a16="http://schemas.microsoft.com/office/drawing/2014/main" id="{8658E231-9392-4BCD-94EA-D3AC946E0C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75147" y="3659816"/>
              <a:ext cx="677628" cy="58477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EB407A6-B4E5-4BA6-857A-B579EF7A35C6}"/>
                </a:ext>
              </a:extLst>
            </p:cNvPr>
            <p:cNvSpPr txBox="1"/>
            <p:nvPr/>
          </p:nvSpPr>
          <p:spPr>
            <a:xfrm>
              <a:off x="3926399" y="4241899"/>
              <a:ext cx="15751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Site visits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Department officials visit sites to initiate application process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Mobile application used to fill application and upload supporting documents;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163ED10-BBE0-4AAB-943E-9BC30D35B2BF}"/>
                </a:ext>
              </a:extLst>
            </p:cNvPr>
            <p:cNvSpPr txBox="1"/>
            <p:nvPr/>
          </p:nvSpPr>
          <p:spPr>
            <a:xfrm>
              <a:off x="5924086" y="3184925"/>
              <a:ext cx="151665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Fee computation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System computes license fee based on type of business and other parameters;</a:t>
              </a:r>
            </a:p>
          </p:txBody>
        </p:sp>
        <p:pic>
          <p:nvPicPr>
            <p:cNvPr id="11" name="Graphic 10" descr="Checkmark with solid fill">
              <a:extLst>
                <a:ext uri="{FF2B5EF4-FFF2-40B4-BE49-F238E27FC236}">
                  <a16:creationId xmlns:a16="http://schemas.microsoft.com/office/drawing/2014/main" id="{85807E64-8325-4D4F-A548-47100BCC62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85778" y="3685695"/>
              <a:ext cx="652989" cy="474891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268CE10-A330-4584-BF15-1C2C366D0BAC}"/>
                </a:ext>
              </a:extLst>
            </p:cNvPr>
            <p:cNvSpPr txBox="1"/>
            <p:nvPr/>
          </p:nvSpPr>
          <p:spPr>
            <a:xfrm>
              <a:off x="7683938" y="4198512"/>
              <a:ext cx="163572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Payment completion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Trader receives payment link on mobile number and/or email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Trader completes payment instantly and CE number is generated; 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AFD1B27F-D6BB-48AD-8FF0-888538E65C37}"/>
                </a:ext>
              </a:extLst>
            </p:cNvPr>
            <p:cNvCxnSpPr/>
            <p:nvPr/>
          </p:nvCxnSpPr>
          <p:spPr>
            <a:xfrm>
              <a:off x="7138598" y="3957277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4EC21C0E-1AF7-47F8-8791-5167023440A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512273" y="2210797"/>
              <a:ext cx="1" cy="15337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phic 15" descr="Blockchain with solid fill">
              <a:extLst>
                <a:ext uri="{FF2B5EF4-FFF2-40B4-BE49-F238E27FC236}">
                  <a16:creationId xmlns:a16="http://schemas.microsoft.com/office/drawing/2014/main" id="{B0E9E6F1-5906-44B0-A00D-69F1AF23D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88332" y="1517043"/>
              <a:ext cx="830941" cy="621521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DAC476F-D194-4BDD-90AD-832318C81C7E}"/>
                </a:ext>
              </a:extLst>
            </p:cNvPr>
            <p:cNvSpPr txBox="1"/>
            <p:nvPr/>
          </p:nvSpPr>
          <p:spPr>
            <a:xfrm>
              <a:off x="7488221" y="698754"/>
              <a:ext cx="175820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Blockchain ledger update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Transaction triggered into blockchain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Specified data related to certificate is recorded immutably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Transaction is ordered into blocks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D88521-DBFE-48EF-96A2-0794ED738764}"/>
                </a:ext>
              </a:extLst>
            </p:cNvPr>
            <p:cNvCxnSpPr/>
            <p:nvPr/>
          </p:nvCxnSpPr>
          <p:spPr>
            <a:xfrm flipH="1">
              <a:off x="5719335" y="1837692"/>
              <a:ext cx="210215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phic 20" descr="Internet with solid fill">
              <a:extLst>
                <a:ext uri="{FF2B5EF4-FFF2-40B4-BE49-F238E27FC236}">
                  <a16:creationId xmlns:a16="http://schemas.microsoft.com/office/drawing/2014/main" id="{9DDEA80A-CB89-4912-8495-9049DDA366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477255" y="1451703"/>
              <a:ext cx="739105" cy="686861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4DB26EE-B2A0-460A-A923-B41708A67589}"/>
                </a:ext>
              </a:extLst>
            </p:cNvPr>
            <p:cNvSpPr txBox="1"/>
            <p:nvPr/>
          </p:nvSpPr>
          <p:spPr>
            <a:xfrm>
              <a:off x="4089203" y="2010204"/>
              <a:ext cx="151520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Hash in certificate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Transaction hash sent back to KMC portal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Hash is printed in form of QR code into the certificate;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7532E17F-AE08-4CF4-8D4B-CD21C33BAC57}"/>
                </a:ext>
              </a:extLst>
            </p:cNvPr>
            <p:cNvCxnSpPr/>
            <p:nvPr/>
          </p:nvCxnSpPr>
          <p:spPr>
            <a:xfrm>
              <a:off x="5313664" y="3968724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Graphic 23" descr="Server with solid fill">
              <a:extLst>
                <a:ext uri="{FF2B5EF4-FFF2-40B4-BE49-F238E27FC236}">
                  <a16:creationId xmlns:a16="http://schemas.microsoft.com/office/drawing/2014/main" id="{06072BF3-52D8-482A-9459-D9E1EAD20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85338" y="3769700"/>
              <a:ext cx="739108" cy="47489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" name="Google Shape;633;p64"/>
          <p:cNvSpPr txBox="1">
            <a:spLocks noGrp="1"/>
          </p:cNvSpPr>
          <p:nvPr>
            <p:ph type="title"/>
          </p:nvPr>
        </p:nvSpPr>
        <p:spPr>
          <a:xfrm>
            <a:off x="170885" y="33605"/>
            <a:ext cx="8990320" cy="580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-US" sz="2200" dirty="0"/>
              <a:t>Envisioned workflow - Scenario 5 (Renewal of certificate of enlistment – through bulk demand generation)</a:t>
            </a:r>
          </a:p>
        </p:txBody>
      </p:sp>
      <p:sp>
        <p:nvSpPr>
          <p:cNvPr id="634" name="Google Shape;634;p6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sp>
        <p:nvSpPr>
          <p:cNvPr id="635" name="Google Shape;635;p64"/>
          <p:cNvSpPr txBox="1"/>
          <p:nvPr/>
        </p:nvSpPr>
        <p:spPr>
          <a:xfrm>
            <a:off x="5426795" y="1076172"/>
            <a:ext cx="3579120" cy="3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t the beginning of financial year, </a:t>
            </a:r>
            <a:r>
              <a:rPr lang="en-US" sz="1000" dirty="0">
                <a:solidFill>
                  <a:srgbClr val="000000"/>
                </a:solidFill>
                <a:effectLst/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department generates an auto-demand in batch through the e-KMC portal for every CE due for renewal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lvl="0" indent="-29210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renewal fee is calculated based on number of years of renewal, nature of business and area-wise fees.  </a:t>
            </a:r>
            <a:endParaRPr lang="en-US"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lvl="0" indent="-2921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T</a:t>
            </a:r>
            <a:r>
              <a:rPr lang="en-US" sz="1000" dirty="0">
                <a:solidFill>
                  <a:srgbClr val="000000"/>
                </a:solidFill>
                <a:effectLst/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he user can search for unpaid demand(s) by entering their CE number</a:t>
            </a: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 in KMC portal.</a:t>
            </a:r>
          </a:p>
          <a:p>
            <a:pPr marL="457200" lvl="0" indent="-2921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trader can complete the payment due for renewal through Debit Card/UPI/Net Banking. </a:t>
            </a:r>
          </a:p>
          <a:p>
            <a:pPr marL="457200" lvl="0" indent="-2921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fter the payment, renewed CE with new validity period is generated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 transaction is triggered into the blockchain based ledger and the specified data related to the renewed certificate is recorded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transaction is ordered into blocks and the world state is updated for the information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</a:t>
            </a:r>
            <a:r>
              <a:rPr lang="en-US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32-bit</a:t>
            </a: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 transaction/asset hash is sent back to the KMC portal application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 hash is printed in form of QR code into the certificate.</a:t>
            </a:r>
            <a:endParaRPr sz="10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b="1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B0DD34D-8E89-4DA6-B660-69FCCC9905A1}"/>
              </a:ext>
            </a:extLst>
          </p:cNvPr>
          <p:cNvCxnSpPr>
            <a:cxnSpLocks/>
          </p:cNvCxnSpPr>
          <p:nvPr/>
        </p:nvCxnSpPr>
        <p:spPr>
          <a:xfrm>
            <a:off x="5363554" y="925671"/>
            <a:ext cx="0" cy="36367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0327BC5A-8717-4F7A-B0F2-DBD69F0012B2}"/>
              </a:ext>
            </a:extLst>
          </p:cNvPr>
          <p:cNvGrpSpPr/>
          <p:nvPr/>
        </p:nvGrpSpPr>
        <p:grpSpPr>
          <a:xfrm>
            <a:off x="170885" y="792862"/>
            <a:ext cx="5221355" cy="4076318"/>
            <a:chOff x="4014996" y="765578"/>
            <a:chExt cx="5221355" cy="4076318"/>
          </a:xfrm>
        </p:grpSpPr>
        <p:pic>
          <p:nvPicPr>
            <p:cNvPr id="3" name="Graphic 2" descr="Building with solid fill">
              <a:extLst>
                <a:ext uri="{FF2B5EF4-FFF2-40B4-BE49-F238E27FC236}">
                  <a16:creationId xmlns:a16="http://schemas.microsoft.com/office/drawing/2014/main" id="{939EFE15-C696-40E1-9AF7-9B8BA7B59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25575" y="3557707"/>
              <a:ext cx="622629" cy="576303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D2F256-B5E2-4C0D-86C4-FC7A16EB6DEC}"/>
                </a:ext>
              </a:extLst>
            </p:cNvPr>
            <p:cNvSpPr txBox="1"/>
            <p:nvPr/>
          </p:nvSpPr>
          <p:spPr>
            <a:xfrm>
              <a:off x="4046961" y="4171986"/>
              <a:ext cx="16824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Batch Demand Genera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Department generates auto-demand in batch for CE renewal;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5FE29F26-3038-490E-B083-12DAA31A2AD6}"/>
                </a:ext>
              </a:extLst>
            </p:cNvPr>
            <p:cNvCxnSpPr/>
            <p:nvPr/>
          </p:nvCxnSpPr>
          <p:spPr>
            <a:xfrm>
              <a:off x="5275243" y="3845858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Graphic 9" descr="Server with solid fill">
              <a:extLst>
                <a:ext uri="{FF2B5EF4-FFF2-40B4-BE49-F238E27FC236}">
                  <a16:creationId xmlns:a16="http://schemas.microsoft.com/office/drawing/2014/main" id="{9865B9FF-272D-4D7B-A271-4CFB82E4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10798" y="3608412"/>
              <a:ext cx="739108" cy="47489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556FC96-2574-41FC-9907-CBFCEA13640F}"/>
                </a:ext>
              </a:extLst>
            </p:cNvPr>
            <p:cNvSpPr txBox="1"/>
            <p:nvPr/>
          </p:nvSpPr>
          <p:spPr>
            <a:xfrm>
              <a:off x="5884294" y="2943447"/>
              <a:ext cx="15137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Fee computa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ystem computes renewal fee based on number of years of renewal, nature of business and area-wise fees;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768E8683-A79B-4521-B4F5-A9BF2FD40CDB}"/>
                </a:ext>
              </a:extLst>
            </p:cNvPr>
            <p:cNvCxnSpPr/>
            <p:nvPr/>
          </p:nvCxnSpPr>
          <p:spPr>
            <a:xfrm>
              <a:off x="7349910" y="3845858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Graphic 12" descr="Checkmark with solid fill">
              <a:extLst>
                <a:ext uri="{FF2B5EF4-FFF2-40B4-BE49-F238E27FC236}">
                  <a16:creationId xmlns:a16="http://schemas.microsoft.com/office/drawing/2014/main" id="{32AE5EDF-648F-4F41-AF2C-FF4AA535F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59803" y="3636632"/>
              <a:ext cx="652989" cy="418451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90FDD2E-1C0A-48BF-8790-3177DE084593}"/>
                </a:ext>
              </a:extLst>
            </p:cNvPr>
            <p:cNvSpPr txBox="1"/>
            <p:nvPr/>
          </p:nvSpPr>
          <p:spPr>
            <a:xfrm>
              <a:off x="7699533" y="4134010"/>
              <a:ext cx="15137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Payment comple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der can search for unpaid demand via KMC portal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der completes payment due for renewal;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3EE25C2C-DAAC-4103-8996-49CFB5D6DC3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513091" y="1879393"/>
              <a:ext cx="1" cy="18364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phic 14" descr="Diploma with solid fill">
              <a:extLst>
                <a:ext uri="{FF2B5EF4-FFF2-40B4-BE49-F238E27FC236}">
                  <a16:creationId xmlns:a16="http://schemas.microsoft.com/office/drawing/2014/main" id="{A6CCD308-5A63-4B71-8C5C-24B16CA9A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50022" y="1351866"/>
              <a:ext cx="726139" cy="576303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96E14E-CA28-492D-B5BA-463E8D8D5C59}"/>
                </a:ext>
              </a:extLst>
            </p:cNvPr>
            <p:cNvSpPr txBox="1"/>
            <p:nvPr/>
          </p:nvSpPr>
          <p:spPr>
            <a:xfrm>
              <a:off x="7783960" y="818435"/>
              <a:ext cx="14523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Renewed CE generated 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Renewed CE with new validity period is generated;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2E2F57AC-C801-48BB-8C2A-EF42A0CEB20D}"/>
                </a:ext>
              </a:extLst>
            </p:cNvPr>
            <p:cNvCxnSpPr/>
            <p:nvPr/>
          </p:nvCxnSpPr>
          <p:spPr>
            <a:xfrm flipH="1">
              <a:off x="7220976" y="1656978"/>
              <a:ext cx="74962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Graphic 22" descr="Blockchain with solid fill">
              <a:extLst>
                <a:ext uri="{FF2B5EF4-FFF2-40B4-BE49-F238E27FC236}">
                  <a16:creationId xmlns:a16="http://schemas.microsoft.com/office/drawing/2014/main" id="{07E7589F-286E-4ADE-A35F-0F586CAAC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64881" y="1399174"/>
              <a:ext cx="830941" cy="62152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1F2F70C-64B2-4AAF-A4EF-340F8834AAA9}"/>
                </a:ext>
              </a:extLst>
            </p:cNvPr>
            <p:cNvSpPr txBox="1"/>
            <p:nvPr/>
          </p:nvSpPr>
          <p:spPr>
            <a:xfrm>
              <a:off x="5624866" y="1965064"/>
              <a:ext cx="203281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Blockchain ledger update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triggered into blockchain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Specified data related to certificate is recorded immutably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is ordered into blocks;</a:t>
              </a: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44D2647E-B21E-4F0C-AEAC-F2FBA0EC3C17}"/>
                </a:ext>
              </a:extLst>
            </p:cNvPr>
            <p:cNvCxnSpPr/>
            <p:nvPr/>
          </p:nvCxnSpPr>
          <p:spPr>
            <a:xfrm flipH="1">
              <a:off x="4994622" y="1694566"/>
              <a:ext cx="97986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Graphic 26" descr="Internet with solid fill">
              <a:extLst>
                <a:ext uri="{FF2B5EF4-FFF2-40B4-BE49-F238E27FC236}">
                  <a16:creationId xmlns:a16="http://schemas.microsoft.com/office/drawing/2014/main" id="{7E4971AF-203F-4B46-82BA-359FF72AD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55517" y="1435920"/>
              <a:ext cx="739105" cy="621518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D15AE0-D8C9-4638-B0D9-E7D9EB01D01C}"/>
                </a:ext>
              </a:extLst>
            </p:cNvPr>
            <p:cNvSpPr txBox="1"/>
            <p:nvPr/>
          </p:nvSpPr>
          <p:spPr>
            <a:xfrm>
              <a:off x="4014996" y="765578"/>
              <a:ext cx="157339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Hash in certificate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Transaction hash sent back to KMC portal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Hash is printed in form of QR code into the certificate;</a:t>
              </a: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" name="Google Shape;633;p64"/>
          <p:cNvSpPr txBox="1">
            <a:spLocks noGrp="1"/>
          </p:cNvSpPr>
          <p:nvPr>
            <p:ph type="title"/>
          </p:nvPr>
        </p:nvSpPr>
        <p:spPr>
          <a:xfrm>
            <a:off x="169737" y="121844"/>
            <a:ext cx="8249484" cy="435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2200" dirty="0"/>
              <a:t>Envisioned workflow - Scenario 6 (</a:t>
            </a:r>
            <a:r>
              <a:rPr lang="en" sz="2200" dirty="0"/>
              <a:t>Verification workflow)</a:t>
            </a:r>
            <a:endParaRPr lang="en-US" dirty="0"/>
          </a:p>
        </p:txBody>
      </p:sp>
      <p:sp>
        <p:nvSpPr>
          <p:cNvPr id="634" name="Google Shape;634;p6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4</a:t>
            </a:fld>
            <a:endParaRPr/>
          </a:p>
        </p:txBody>
      </p:sp>
      <p:sp>
        <p:nvSpPr>
          <p:cNvPr id="635" name="Google Shape;635;p64"/>
          <p:cNvSpPr txBox="1"/>
          <p:nvPr/>
        </p:nvSpPr>
        <p:spPr>
          <a:xfrm>
            <a:off x="5453909" y="1441170"/>
            <a:ext cx="3544700" cy="36160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indent="-298450"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 panose="02040502050405020303" pitchFamily="18" charset="0"/>
                <a:cs typeface="Georgia" panose="02040502050405020303" pitchFamily="18" charset="0"/>
                <a:sym typeface="Georgia"/>
              </a:rPr>
              <a:t>The</a:t>
            </a:r>
            <a:r>
              <a:rPr lang="en" sz="1000" dirty="0">
                <a:solidFill>
                  <a:schemeClr val="dk1"/>
                </a:solidFill>
                <a:latin typeface="Georgia"/>
                <a:ea typeface="Georgia" panose="02040502050405020303" pitchFamily="18" charset="0"/>
                <a:cs typeface="Georgia" panose="02040502050405020303" pitchFamily="18" charset="0"/>
              </a:rPr>
              <a:t> citizen scans the QR code printed on the certificate</a:t>
            </a:r>
            <a:r>
              <a:rPr lang="en-US" sz="1000" dirty="0">
                <a:solidFill>
                  <a:srgbClr val="000000"/>
                </a:solidFill>
                <a:effectLst/>
                <a:latin typeface="Georgia"/>
                <a:ea typeface="Georgia" panose="02040502050405020303" pitchFamily="18" charset="0"/>
                <a:cs typeface="Georgia" panose="02040502050405020303" pitchFamily="18" charset="0"/>
              </a:rPr>
              <a:t>.</a:t>
            </a:r>
            <a:endParaRPr lang="en-US"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indent="-292100" algn="just">
              <a:lnSpc>
                <a:spcPct val="115000"/>
              </a:lnSpc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citizen is navigated to the verification page on the KMC website.  </a:t>
            </a:r>
            <a:endParaRPr lang="en" sz="1000" dirty="0">
              <a:solidFill>
                <a:schemeClr val="dk1"/>
              </a:solidFill>
              <a:latin typeface="Georgia"/>
              <a:ea typeface="Georgia" panose="02040502050405020303" pitchFamily="18" charset="0"/>
              <a:cs typeface="Georgia" panose="02040502050405020303" pitchFamily="18" charset="0"/>
            </a:endParaRPr>
          </a:p>
          <a:p>
            <a:pPr marL="457200" indent="-292100"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-US" sz="1000" dirty="0">
                <a:latin typeface="Georgia"/>
                <a:ea typeface="Georgia" panose="02040502050405020303" pitchFamily="18" charset="0"/>
                <a:cs typeface="Georgia" panose="02040502050405020303" pitchFamily="18" charset="0"/>
              </a:rPr>
              <a:t>A query transaction is triggered on the blockchain which fetches the details of the certificate from the blocks in the ledger.</a:t>
            </a:r>
          </a:p>
          <a:p>
            <a:pPr marL="457200" indent="-292100">
              <a:buClr>
                <a:schemeClr val="dk1"/>
              </a:buClr>
              <a:buSzPts val="1000"/>
              <a:buAutoNum type="arabicPeriod"/>
            </a:pPr>
            <a:r>
              <a:rPr lang="en-US" sz="1000" dirty="0">
                <a:latin typeface="Georgia"/>
                <a:ea typeface="Georgia" panose="02040502050405020303" pitchFamily="18" charset="0"/>
                <a:cs typeface="Georgia" panose="02040502050405020303" pitchFamily="18" charset="0"/>
              </a:rPr>
              <a:t>The details</a:t>
            </a:r>
            <a:r>
              <a:rPr lang="en-US" sz="1000" dirty="0">
                <a:solidFill>
                  <a:schemeClr val="dk1"/>
                </a:solidFill>
                <a:latin typeface="Georgia"/>
                <a:ea typeface="Georgia" panose="02040502050405020303" pitchFamily="18" charset="0"/>
                <a:cs typeface="Georgia" panose="02040502050405020303" pitchFamily="18" charset="0"/>
                <a:sym typeface="Georgia"/>
              </a:rPr>
              <a:t> related to the certificate along with the cryptographic transaction hash, timestamp is displayed on the website.</a:t>
            </a:r>
            <a:endParaRPr lang="en-US" sz="1000" dirty="0">
              <a:solidFill>
                <a:schemeClr val="dk1"/>
              </a:solidFill>
              <a:latin typeface="Georgia"/>
              <a:ea typeface="Georgia"/>
              <a:cs typeface="Georgia"/>
            </a:endParaRPr>
          </a:p>
          <a:p>
            <a:pPr marL="457200" indent="-292100">
              <a:buClr>
                <a:schemeClr val="dk1"/>
              </a:buClr>
              <a:buSzPts val="1000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/>
                <a:ea typeface="Georgia"/>
                <a:cs typeface="Georgia"/>
              </a:rPr>
              <a:t>The Merkel root hash is calculated at real time for the certificate details.</a:t>
            </a:r>
          </a:p>
          <a:p>
            <a:pPr marL="457200" indent="-292100">
              <a:buClr>
                <a:schemeClr val="dk1"/>
              </a:buClr>
              <a:buSzPts val="1000"/>
              <a:buAutoNum type="arabicPeriod"/>
            </a:pPr>
            <a:r>
              <a:rPr lang="en-US" sz="1000" dirty="0">
                <a:solidFill>
                  <a:schemeClr val="dk1"/>
                </a:solidFill>
                <a:latin typeface="Georgia"/>
                <a:ea typeface="Georgia"/>
                <a:cs typeface="Georgia"/>
              </a:rPr>
              <a:t>The application displays the result of the cryptographic data verifications in form of green tick(if it passes) and red cross (if it fails).</a:t>
            </a:r>
          </a:p>
          <a:p>
            <a:pPr>
              <a:buClr>
                <a:schemeClr val="dk1"/>
              </a:buClr>
            </a:pPr>
            <a:endParaRPr lang="en-US" sz="1100" b="1" dirty="0">
              <a:solidFill>
                <a:schemeClr val="dk1"/>
              </a:solidFill>
              <a:latin typeface="Georgia"/>
              <a:ea typeface="Georgia"/>
              <a:cs typeface="Georgi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B0DD34D-8E89-4DA6-B660-69FCCC9905A1}"/>
              </a:ext>
            </a:extLst>
          </p:cNvPr>
          <p:cNvCxnSpPr>
            <a:cxnSpLocks/>
          </p:cNvCxnSpPr>
          <p:nvPr/>
        </p:nvCxnSpPr>
        <p:spPr>
          <a:xfrm>
            <a:off x="5395305" y="751494"/>
            <a:ext cx="0" cy="38955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A7960BA-D7C7-4E9A-8B03-564BB4520276}"/>
              </a:ext>
            </a:extLst>
          </p:cNvPr>
          <p:cNvGrpSpPr/>
          <p:nvPr/>
        </p:nvGrpSpPr>
        <p:grpSpPr>
          <a:xfrm>
            <a:off x="169005" y="559615"/>
            <a:ext cx="5090810" cy="4313134"/>
            <a:chOff x="3977368" y="607660"/>
            <a:chExt cx="5317253" cy="4205304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D2F256-B5E2-4C0D-86C4-FC7A16EB6DEC}"/>
                </a:ext>
              </a:extLst>
            </p:cNvPr>
            <p:cNvSpPr txBox="1"/>
            <p:nvPr/>
          </p:nvSpPr>
          <p:spPr>
            <a:xfrm>
              <a:off x="3977368" y="4105078"/>
              <a:ext cx="182845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QR code sca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Citizen scans QR code on certificate;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Navigated to verification page on KMC website;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5FE29F26-3038-490E-B083-12DAA31A2AD6}"/>
                </a:ext>
              </a:extLst>
            </p:cNvPr>
            <p:cNvCxnSpPr/>
            <p:nvPr/>
          </p:nvCxnSpPr>
          <p:spPr>
            <a:xfrm>
              <a:off x="5275243" y="3845858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556FC96-2574-41FC-9907-CBFCEA13640F}"/>
                </a:ext>
              </a:extLst>
            </p:cNvPr>
            <p:cNvSpPr txBox="1"/>
            <p:nvPr/>
          </p:nvSpPr>
          <p:spPr>
            <a:xfrm>
              <a:off x="5864603" y="2703720"/>
              <a:ext cx="15137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latin typeface="Georgia" panose="02040502050405020303" pitchFamily="18" charset="0"/>
                </a:rPr>
                <a:t>Data Retrieval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Query transaction is triggered on blockchain;</a:t>
              </a:r>
            </a:p>
            <a:p>
              <a:r>
                <a:rPr lang="en-US" sz="800" dirty="0">
                  <a:latin typeface="Georgia" panose="02040502050405020303" pitchFamily="18" charset="0"/>
                </a:rPr>
                <a:t>Certificate details fetched from the blockchain ledger;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768E8683-A79B-4521-B4F5-A9BF2FD40CDB}"/>
                </a:ext>
              </a:extLst>
            </p:cNvPr>
            <p:cNvCxnSpPr/>
            <p:nvPr/>
          </p:nvCxnSpPr>
          <p:spPr>
            <a:xfrm>
              <a:off x="7220976" y="3844812"/>
              <a:ext cx="699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90FDD2E-1C0A-48BF-8790-3177DE084593}"/>
                </a:ext>
              </a:extLst>
            </p:cNvPr>
            <p:cNvSpPr txBox="1"/>
            <p:nvPr/>
          </p:nvSpPr>
          <p:spPr>
            <a:xfrm>
              <a:off x="7725554" y="4105078"/>
              <a:ext cx="15137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Details displayed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Certificate details, cryptographic hash and timestamp gets displayed on the website;</a:t>
              </a: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3EE25C2C-DAAC-4103-8996-49CFB5D6DC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34971" y="1844616"/>
              <a:ext cx="0" cy="147479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596E14E-CA28-492D-B5BA-463E8D8D5C59}"/>
                </a:ext>
              </a:extLst>
            </p:cNvPr>
            <p:cNvSpPr txBox="1"/>
            <p:nvPr/>
          </p:nvSpPr>
          <p:spPr>
            <a:xfrm>
              <a:off x="7670219" y="607660"/>
              <a:ext cx="162440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latin typeface="Georgia" panose="02040502050405020303" pitchFamily="18" charset="0"/>
                </a:rPr>
                <a:t>Verification</a:t>
              </a:r>
            </a:p>
            <a:p>
              <a:r>
                <a:rPr lang="en-US" sz="800">
                  <a:latin typeface="Georgia" panose="02040502050405020303" pitchFamily="18" charset="0"/>
                </a:rPr>
                <a:t>Merkel root hash is computed at real time for the certificate details for verification ;</a:t>
              </a:r>
            </a:p>
          </p:txBody>
        </p:sp>
        <p:pic>
          <p:nvPicPr>
            <p:cNvPr id="23" name="Graphic 22" descr="Blockchain with solid fill">
              <a:extLst>
                <a:ext uri="{FF2B5EF4-FFF2-40B4-BE49-F238E27FC236}">
                  <a16:creationId xmlns:a16="http://schemas.microsoft.com/office/drawing/2014/main" id="{07E7589F-286E-4ADE-A35F-0F586CAAC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44839" y="3433562"/>
              <a:ext cx="830941" cy="621521"/>
            </a:xfrm>
            <a:prstGeom prst="rect">
              <a:avLst/>
            </a:prstGeom>
          </p:spPr>
        </p:pic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44D2647E-B21E-4F0C-AEAC-F2FBA0EC3C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77679" y="1468547"/>
              <a:ext cx="142371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Graphic 26" descr="Internet with solid fill">
              <a:extLst>
                <a:ext uri="{FF2B5EF4-FFF2-40B4-BE49-F238E27FC236}">
                  <a16:creationId xmlns:a16="http://schemas.microsoft.com/office/drawing/2014/main" id="{7E4971AF-203F-4B46-82BA-359FF72AD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65419" y="3488550"/>
              <a:ext cx="744799" cy="61652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DD15AE0-D8C9-4638-B0D9-E7D9EB01D01C}"/>
                </a:ext>
              </a:extLst>
            </p:cNvPr>
            <p:cNvSpPr txBox="1"/>
            <p:nvPr/>
          </p:nvSpPr>
          <p:spPr>
            <a:xfrm>
              <a:off x="4062107" y="1658610"/>
              <a:ext cx="1927370" cy="69018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800" b="1">
                  <a:latin typeface="Georgia"/>
                </a:rPr>
                <a:t>Outcome</a:t>
              </a:r>
            </a:p>
            <a:p>
              <a:r>
                <a:rPr lang="en-US" sz="800">
                  <a:latin typeface="Georgia"/>
                </a:rPr>
                <a:t>Application displays verification results either as green tick(if data is genuine) or red tick(if data is not correct );</a:t>
              </a:r>
            </a:p>
          </p:txBody>
        </p:sp>
        <p:pic>
          <p:nvPicPr>
            <p:cNvPr id="4" name="Graphic 3" descr="Qr Code with solid fill">
              <a:extLst>
                <a:ext uri="{FF2B5EF4-FFF2-40B4-BE49-F238E27FC236}">
                  <a16:creationId xmlns:a16="http://schemas.microsoft.com/office/drawing/2014/main" id="{0218FDDE-E30A-4605-9727-0E0B7AA08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45787" y="3488550"/>
              <a:ext cx="739103" cy="566533"/>
            </a:xfrm>
            <a:prstGeom prst="rect">
              <a:avLst/>
            </a:prstGeom>
          </p:spPr>
        </p:pic>
        <p:pic>
          <p:nvPicPr>
            <p:cNvPr id="17" name="Graphic 16" descr="Checklist with solid fill">
              <a:extLst>
                <a:ext uri="{FF2B5EF4-FFF2-40B4-BE49-F238E27FC236}">
                  <a16:creationId xmlns:a16="http://schemas.microsoft.com/office/drawing/2014/main" id="{6A70AE7C-8E0B-416C-9105-8B6F7D5D4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221811" y="1187477"/>
              <a:ext cx="626320" cy="601368"/>
            </a:xfrm>
            <a:prstGeom prst="rect">
              <a:avLst/>
            </a:prstGeom>
          </p:spPr>
        </p:pic>
        <p:pic>
          <p:nvPicPr>
            <p:cNvPr id="30" name="Graphic 29" descr="Checkmark with solid fill">
              <a:extLst>
                <a:ext uri="{FF2B5EF4-FFF2-40B4-BE49-F238E27FC236}">
                  <a16:creationId xmlns:a16="http://schemas.microsoft.com/office/drawing/2014/main" id="{F35BBD8E-E941-414F-9C14-F0BFF342A4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631368" y="1245209"/>
              <a:ext cx="739104" cy="4517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5114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Google Shape;647;p66"/>
          <p:cNvSpPr txBox="1">
            <a:spLocks noGrp="1"/>
          </p:cNvSpPr>
          <p:nvPr>
            <p:ph type="title"/>
          </p:nvPr>
        </p:nvSpPr>
        <p:spPr>
          <a:xfrm>
            <a:off x="332185" y="248519"/>
            <a:ext cx="8490414" cy="2705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Software/Hardware requirement</a:t>
            </a:r>
            <a:endParaRPr sz="2200" dirty="0"/>
          </a:p>
        </p:txBody>
      </p:sp>
      <p:sp>
        <p:nvSpPr>
          <p:cNvPr id="648" name="Google Shape;648;p6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5</a:t>
            </a:fld>
            <a:endParaRPr/>
          </a:p>
        </p:txBody>
      </p:sp>
      <p:graphicFrame>
        <p:nvGraphicFramePr>
          <p:cNvPr id="649" name="Google Shape;649;p66"/>
          <p:cNvGraphicFramePr/>
          <p:nvPr>
            <p:extLst>
              <p:ext uri="{D42A27DB-BD31-4B8C-83A1-F6EECF244321}">
                <p14:modId xmlns:p14="http://schemas.microsoft.com/office/powerpoint/2010/main" val="3340134797"/>
              </p:ext>
            </p:extLst>
          </p:nvPr>
        </p:nvGraphicFramePr>
        <p:xfrm>
          <a:off x="388188" y="679330"/>
          <a:ext cx="8424156" cy="1327011"/>
        </p:xfrm>
        <a:graphic>
          <a:graphicData uri="http://schemas.openxmlformats.org/drawingml/2006/table">
            <a:tbl>
              <a:tblPr>
                <a:noFill/>
                <a:tableStyleId>{138FC49D-41CE-431F-BCC3-1BE31633B46E}</a:tableStyleId>
              </a:tblPr>
              <a:tblGrid>
                <a:gridCol w="1561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54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80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301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Layer</a:t>
                      </a:r>
                      <a:endParaRPr sz="1200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Software</a:t>
                      </a:r>
                      <a:endParaRPr sz="120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solidFill>
                            <a:schemeClr val="bg1"/>
                          </a:solidFill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License</a:t>
                      </a:r>
                      <a:endParaRPr sz="120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01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Client Layer</a:t>
                      </a:r>
                      <a:endParaRPr sz="1200" dirty="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HTML5, CSS, AngularJS, Bootstrap</a:t>
                      </a:r>
                      <a:endParaRPr sz="120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Open Source</a:t>
                      </a:r>
                      <a:endParaRPr sz="120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54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01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API Layer</a:t>
                      </a:r>
                      <a:endParaRPr sz="1200" dirty="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REST API using NodeJS</a:t>
                      </a:r>
                      <a:endParaRPr sz="1200" u="none" strike="noStrike" cap="none" dirty="0">
                        <a:latin typeface="Georgia" panose="02040502050405020303" pitchFamily="18" charset="0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Open Source</a:t>
                      </a:r>
                      <a:endParaRPr sz="120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01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Server Side</a:t>
                      </a:r>
                      <a:endParaRPr sz="1200" u="none" strike="noStrike" cap="none">
                        <a:latin typeface="Georgia" panose="02040502050405020303" pitchFamily="18" charset="0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NodeJS Framework </a:t>
                      </a:r>
                      <a:endParaRPr sz="1200" u="none" strike="noStrike" cap="none" dirty="0">
                        <a:latin typeface="Georgia" panose="02040502050405020303" pitchFamily="18" charset="0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Open Source</a:t>
                      </a:r>
                      <a:endParaRPr sz="120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B60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96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Blockchain Platform</a:t>
                      </a:r>
                      <a:endParaRPr sz="1200">
                        <a:latin typeface="Georgia" panose="02040502050405020303" pitchFamily="18" charset="0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dirty="0">
                          <a:latin typeface="Georgia" panose="02040502050405020303" pitchFamily="18" charset="0"/>
                        </a:rPr>
                        <a:t>Multichain/Ethereum/Hyperledger fabric</a:t>
                      </a: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  <a:sym typeface="Arial"/>
                        </a:rPr>
                        <a:t>Open </a:t>
                      </a:r>
                      <a:r>
                        <a:rPr lang="en" sz="1200" u="none" strike="noStrike" cap="none" dirty="0">
                          <a:latin typeface="Georgia" panose="02040502050405020303" pitchFamily="18" charset="0"/>
                          <a:ea typeface="Arial"/>
                          <a:cs typeface="Arial"/>
                        </a:rPr>
                        <a:t>Source</a:t>
                      </a:r>
                      <a:endParaRPr sz="1200" u="none" strike="noStrike" cap="none" dirty="0">
                        <a:latin typeface="Georgia" panose="02040502050405020303" pitchFamily="18" charset="0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600" marR="68600" marT="34300" marB="34300">
                    <a:lnL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FFB6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B52184C-8998-437D-9361-0DC1F26F86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989016"/>
              </p:ext>
            </p:extLst>
          </p:nvPr>
        </p:nvGraphicFramePr>
        <p:xfrm>
          <a:off x="390525" y="2100532"/>
          <a:ext cx="8430366" cy="1482325"/>
        </p:xfrm>
        <a:graphic>
          <a:graphicData uri="http://schemas.openxmlformats.org/drawingml/2006/table">
            <a:tbl>
              <a:tblPr firstRow="1" bandRow="1">
                <a:tableStyleId>{138FC49D-41CE-431F-BCC3-1BE31633B46E}</a:tableStyleId>
              </a:tblPr>
              <a:tblGrid>
                <a:gridCol w="1024553">
                  <a:extLst>
                    <a:ext uri="{9D8B030D-6E8A-4147-A177-3AD203B41FA5}">
                      <a16:colId xmlns:a16="http://schemas.microsoft.com/office/drawing/2014/main" val="2904378033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4202631996"/>
                    </a:ext>
                  </a:extLst>
                </a:gridCol>
                <a:gridCol w="640079">
                  <a:extLst>
                    <a:ext uri="{9D8B030D-6E8A-4147-A177-3AD203B41FA5}">
                      <a16:colId xmlns:a16="http://schemas.microsoft.com/office/drawing/2014/main" val="4012912839"/>
                    </a:ext>
                  </a:extLst>
                </a:gridCol>
                <a:gridCol w="637505">
                  <a:extLst>
                    <a:ext uri="{9D8B030D-6E8A-4147-A177-3AD203B41FA5}">
                      <a16:colId xmlns:a16="http://schemas.microsoft.com/office/drawing/2014/main" val="794314691"/>
                    </a:ext>
                  </a:extLst>
                </a:gridCol>
                <a:gridCol w="706516">
                  <a:extLst>
                    <a:ext uri="{9D8B030D-6E8A-4147-A177-3AD203B41FA5}">
                      <a16:colId xmlns:a16="http://schemas.microsoft.com/office/drawing/2014/main" val="1025617114"/>
                    </a:ext>
                  </a:extLst>
                </a:gridCol>
                <a:gridCol w="925825">
                  <a:extLst>
                    <a:ext uri="{9D8B030D-6E8A-4147-A177-3AD203B41FA5}">
                      <a16:colId xmlns:a16="http://schemas.microsoft.com/office/drawing/2014/main" val="1189000437"/>
                    </a:ext>
                  </a:extLst>
                </a:gridCol>
                <a:gridCol w="971549">
                  <a:extLst>
                    <a:ext uri="{9D8B030D-6E8A-4147-A177-3AD203B41FA5}">
                      <a16:colId xmlns:a16="http://schemas.microsoft.com/office/drawing/2014/main" val="4119944846"/>
                    </a:ext>
                  </a:extLst>
                </a:gridCol>
                <a:gridCol w="2952839">
                  <a:extLst>
                    <a:ext uri="{9D8B030D-6E8A-4147-A177-3AD203B41FA5}">
                      <a16:colId xmlns:a16="http://schemas.microsoft.com/office/drawing/2014/main" val="1574215227"/>
                    </a:ext>
                  </a:extLst>
                </a:gridCol>
              </a:tblGrid>
              <a:tr h="59436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Component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Unit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Core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 (Per Unit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Core (Total)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RAM (GB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(Per Unit)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Hard Disk (GB) (Per Unit)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Total Disk (GB)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OS/Software Required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283831"/>
                  </a:ext>
                </a:extLst>
              </a:tr>
              <a:tr h="20359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App Server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1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4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60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120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Ubuntu 16.04 L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67285"/>
                  </a:ext>
                </a:extLst>
              </a:tr>
              <a:tr h="33932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Blockchain Nodes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3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16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250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250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Ubuntu 16.04 LTS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0948753"/>
                  </a:ext>
                </a:extLst>
              </a:tr>
              <a:tr h="20359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Database Server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1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8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16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>
                          <a:effectLst/>
                          <a:latin typeface="Georgia" panose="02040502050405020303" pitchFamily="18" charset="0"/>
                        </a:rPr>
                        <a:t>250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250​</a:t>
                      </a: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800" dirty="0">
                          <a:effectLst/>
                          <a:latin typeface="Georgia" panose="02040502050405020303" pitchFamily="18" charset="0"/>
                        </a:rPr>
                        <a:t>​​</a:t>
                      </a:r>
                    </a:p>
                    <a:p>
                      <a:pPr algn="ctr" fontAlgn="base"/>
                      <a:endParaRPr lang="en-US" sz="800" dirty="0">
                        <a:effectLst/>
                        <a:latin typeface="Georgia" panose="02040502050405020303" pitchFamily="18" charset="0"/>
                      </a:endParaRPr>
                    </a:p>
                  </a:txBody>
                  <a:tcPr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983110"/>
                  </a:ext>
                </a:extLst>
              </a:tr>
            </a:tbl>
          </a:graphicData>
        </a:graphic>
      </p:graphicFrame>
      <p:sp>
        <p:nvSpPr>
          <p:cNvPr id="9" name="Google Shape;650;p66">
            <a:extLst>
              <a:ext uri="{FF2B5EF4-FFF2-40B4-BE49-F238E27FC236}">
                <a16:creationId xmlns:a16="http://schemas.microsoft.com/office/drawing/2014/main" id="{D01CB7E0-8787-489D-9550-7EAA617FDFEC}"/>
              </a:ext>
            </a:extLst>
          </p:cNvPr>
          <p:cNvSpPr txBox="1"/>
          <p:nvPr/>
        </p:nvSpPr>
        <p:spPr>
          <a:xfrm>
            <a:off x="451085" y="4120392"/>
            <a:ext cx="8472486" cy="74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0800" indent="-57150">
              <a:spcBef>
                <a:spcPts val="700"/>
              </a:spcBef>
              <a:buFont typeface="Noto Sans Symbols,Sans-Serif"/>
              <a:buChar char="✔"/>
            </a:pPr>
            <a:r>
              <a:rPr lang="en" sz="1200" dirty="0"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re will be 3 blockchain nodes in the system which is a minimum requirement for the ecosystem. Depending upon the outcome the system can be scaled.</a:t>
            </a:r>
            <a:endParaRPr lang="en-US" sz="1200" dirty="0">
              <a:latin typeface="Georgia" panose="02040502050405020303" pitchFamily="18" charset="0"/>
              <a:ea typeface="Georgia"/>
            </a:endParaRPr>
          </a:p>
          <a:p>
            <a:pPr marL="50800" indent="-57150">
              <a:spcBef>
                <a:spcPts val="700"/>
              </a:spcBef>
              <a:buFont typeface="Noto Sans Symbols,Sans-Serif"/>
              <a:buChar char="✔"/>
            </a:pPr>
            <a:r>
              <a:rPr lang="en" sz="1200" dirty="0">
                <a:latin typeface="Georgia" panose="02040502050405020303" pitchFamily="18" charset="0"/>
                <a:ea typeface="Georgia"/>
                <a:cs typeface="Georgia"/>
                <a:sym typeface="Georgia"/>
              </a:rPr>
              <a:t>There will be stateless database to store off chain data</a:t>
            </a:r>
            <a:endParaRPr sz="1200" dirty="0">
              <a:latin typeface="Georgia" panose="02040502050405020303" pitchFamily="18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Google Shape;663;p68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2200" dirty="0"/>
              <a:t>High level system Architecture</a:t>
            </a:r>
            <a:endParaRPr lang="en-US" sz="2200" dirty="0"/>
          </a:p>
        </p:txBody>
      </p:sp>
      <p:sp>
        <p:nvSpPr>
          <p:cNvPr id="664" name="Google Shape;664;p68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16</a:t>
            </a:fld>
            <a:endParaRPr/>
          </a:p>
        </p:txBody>
      </p:sp>
      <p:grpSp>
        <p:nvGrpSpPr>
          <p:cNvPr id="665" name="Google Shape;665;p68"/>
          <p:cNvGrpSpPr/>
          <p:nvPr/>
        </p:nvGrpSpPr>
        <p:grpSpPr>
          <a:xfrm>
            <a:off x="533400" y="744330"/>
            <a:ext cx="8354163" cy="4039076"/>
            <a:chOff x="126557" y="768262"/>
            <a:chExt cx="8707881" cy="3960035"/>
          </a:xfrm>
        </p:grpSpPr>
        <p:sp>
          <p:nvSpPr>
            <p:cNvPr id="666" name="Google Shape;666;p68"/>
            <p:cNvSpPr txBox="1"/>
            <p:nvPr/>
          </p:nvSpPr>
          <p:spPr>
            <a:xfrm rot="-5400000">
              <a:off x="-457003" y="3907069"/>
              <a:ext cx="1404789" cy="23766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C7C7B"/>
                </a:buClr>
                <a:buSzPts val="1400"/>
                <a:buFont typeface="Arial"/>
                <a:buNone/>
              </a:pPr>
              <a:r>
                <a:rPr lang="en" sz="700" b="1" i="0" u="none" strike="noStrike" cap="none">
                  <a:solidFill>
                    <a:srgbClr val="7C7C7B"/>
                  </a:solidFill>
                  <a:latin typeface="Arial"/>
                  <a:ea typeface="Arial"/>
                  <a:cs typeface="Arial"/>
                  <a:sym typeface="Arial"/>
                </a:rPr>
                <a:t>In-house / Private Cloud</a:t>
              </a:r>
              <a:endParaRPr sz="700" b="1" i="0" u="none" strike="noStrike" cap="none">
                <a:solidFill>
                  <a:srgbClr val="7C7C7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7" name="Google Shape;667;p68"/>
            <p:cNvSpPr txBox="1"/>
            <p:nvPr/>
          </p:nvSpPr>
          <p:spPr>
            <a:xfrm rot="-5400000">
              <a:off x="-397777" y="1314006"/>
              <a:ext cx="1404789" cy="313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C7C7B"/>
                </a:buClr>
                <a:buSzPts val="1400"/>
                <a:buFont typeface="Arial"/>
                <a:buNone/>
              </a:pPr>
              <a:r>
                <a:rPr lang="en" sz="700" b="1" i="0" u="none" strike="noStrike" cap="none">
                  <a:solidFill>
                    <a:srgbClr val="7C7C7B"/>
                  </a:solidFill>
                  <a:latin typeface="Arial"/>
                  <a:ea typeface="Arial"/>
                  <a:cs typeface="Arial"/>
                  <a:sym typeface="Arial"/>
                </a:rPr>
                <a:t>Client Layer</a:t>
              </a:r>
              <a:endParaRPr sz="700" b="1" i="0" u="none" strike="noStrike" cap="none">
                <a:solidFill>
                  <a:srgbClr val="7C7C7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668" name="Google Shape;668;p68"/>
            <p:cNvGrpSpPr/>
            <p:nvPr/>
          </p:nvGrpSpPr>
          <p:grpSpPr>
            <a:xfrm>
              <a:off x="126557" y="1184672"/>
              <a:ext cx="8707881" cy="3479976"/>
              <a:chOff x="69912" y="1061803"/>
              <a:chExt cx="8707881" cy="3479976"/>
            </a:xfrm>
          </p:grpSpPr>
          <p:sp>
            <p:nvSpPr>
              <p:cNvPr id="669" name="Google Shape;669;p68"/>
              <p:cNvSpPr txBox="1"/>
              <p:nvPr/>
            </p:nvSpPr>
            <p:spPr>
              <a:xfrm>
                <a:off x="1288485" y="1224481"/>
                <a:ext cx="1162500" cy="246600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 dirty="0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Legacy system</a:t>
                </a:r>
                <a:endParaRPr sz="1100" dirty="0"/>
              </a:p>
            </p:txBody>
          </p:sp>
          <p:grpSp>
            <p:nvGrpSpPr>
              <p:cNvPr id="670" name="Google Shape;670;p68"/>
              <p:cNvGrpSpPr/>
              <p:nvPr/>
            </p:nvGrpSpPr>
            <p:grpSpPr>
              <a:xfrm>
                <a:off x="4031480" y="1061803"/>
                <a:ext cx="2769327" cy="626724"/>
                <a:chOff x="4658945" y="1084220"/>
                <a:chExt cx="2769327" cy="738665"/>
              </a:xfrm>
            </p:grpSpPr>
            <p:sp>
              <p:nvSpPr>
                <p:cNvPr id="671" name="Google Shape;671;p68"/>
                <p:cNvSpPr/>
                <p:nvPr/>
              </p:nvSpPr>
              <p:spPr>
                <a:xfrm>
                  <a:off x="4658945" y="1084220"/>
                  <a:ext cx="2769327" cy="738665"/>
                </a:xfrm>
                <a:prstGeom prst="rect">
                  <a:avLst/>
                </a:prstGeom>
                <a:solidFill>
                  <a:srgbClr val="F2F2F2"/>
                </a:solidFill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800"/>
                    <a:buFont typeface="Arial"/>
                    <a:buNone/>
                  </a:pPr>
                  <a:endParaRPr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672" name="Google Shape;672;p68"/>
                <p:cNvSpPr txBox="1"/>
                <p:nvPr/>
              </p:nvSpPr>
              <p:spPr>
                <a:xfrm>
                  <a:off x="4881011" y="1114998"/>
                  <a:ext cx="2338252" cy="2616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800"/>
                    <a:buFont typeface="Arial"/>
                    <a:buNone/>
                  </a:pPr>
                  <a:r>
                    <a:rPr lang="en" sz="800" b="0" i="0" u="none" strike="noStrike" cap="none">
                      <a:solidFill>
                        <a:srgbClr val="000000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Client Web Application</a:t>
                  </a:r>
                  <a:endParaRPr sz="1100"/>
                </a:p>
              </p:txBody>
            </p:sp>
            <p:cxnSp>
              <p:nvCxnSpPr>
                <p:cNvPr id="673" name="Google Shape;673;p68"/>
                <p:cNvCxnSpPr>
                  <a:stCxn id="671" idx="1"/>
                </p:cNvCxnSpPr>
                <p:nvPr/>
              </p:nvCxnSpPr>
              <p:spPr>
                <a:xfrm>
                  <a:off x="4658945" y="1453553"/>
                  <a:ext cx="27693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674" name="Google Shape;674;p68"/>
                <p:cNvSpPr txBox="1"/>
                <p:nvPr/>
              </p:nvSpPr>
              <p:spPr>
                <a:xfrm>
                  <a:off x="4763448" y="1507413"/>
                  <a:ext cx="2560320" cy="21544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600"/>
                    <a:buFont typeface="Arial"/>
                    <a:buNone/>
                  </a:pPr>
                  <a:r>
                    <a:rPr lang="en" sz="6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Wallet and Tx Signing Service</a:t>
                  </a:r>
                  <a:endParaRPr sz="1100"/>
                </a:p>
              </p:txBody>
            </p:sp>
          </p:grpSp>
          <p:cxnSp>
            <p:nvCxnSpPr>
              <p:cNvPr id="675" name="Google Shape;675;p68"/>
              <p:cNvCxnSpPr/>
              <p:nvPr/>
            </p:nvCxnSpPr>
            <p:spPr>
              <a:xfrm>
                <a:off x="456753" y="1759484"/>
                <a:ext cx="8321040" cy="0"/>
              </a:xfrm>
              <a:prstGeom prst="straightConnector1">
                <a:avLst/>
              </a:prstGeom>
              <a:noFill/>
              <a:ln w="76200" cap="flat" cmpd="sng">
                <a:solidFill>
                  <a:srgbClr val="E0301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676" name="Google Shape;676;p68"/>
              <p:cNvSpPr txBox="1"/>
              <p:nvPr/>
            </p:nvSpPr>
            <p:spPr>
              <a:xfrm>
                <a:off x="357153" y="1462126"/>
                <a:ext cx="1740900" cy="406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68575" rIns="68575" bIns="685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999999"/>
                  </a:buClr>
                  <a:buSzPts val="600"/>
                  <a:buFont typeface="Arial"/>
                  <a:buNone/>
                </a:pPr>
                <a:r>
                  <a:rPr lang="en" sz="600" b="0" i="0" u="none" strike="noStrike" cap="none">
                    <a:solidFill>
                      <a:srgbClr val="999999"/>
                    </a:solidFill>
                    <a:latin typeface="Arial"/>
                    <a:ea typeface="Arial"/>
                    <a:cs typeface="Arial"/>
                    <a:sym typeface="Arial"/>
                  </a:rPr>
                  <a:t>Firewall (External)</a:t>
                </a:r>
                <a:endParaRPr sz="600" b="0" i="0" u="none" strike="noStrike" cap="none">
                  <a:solidFill>
                    <a:srgbClr val="999999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7" name="Google Shape;677;p68"/>
              <p:cNvSpPr/>
              <p:nvPr/>
            </p:nvSpPr>
            <p:spPr>
              <a:xfrm>
                <a:off x="1232363" y="1800727"/>
                <a:ext cx="7001685" cy="200587"/>
              </a:xfrm>
              <a:prstGeom prst="rect">
                <a:avLst/>
              </a:prstGeom>
              <a:solidFill>
                <a:srgbClr val="F4CCCC"/>
              </a:solidFill>
              <a:ln w="9525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algn="ctr">
                  <a:buSzPts val="600"/>
                </a:pPr>
                <a:r>
                  <a:rPr lang="en" sz="600"/>
                  <a:t>KMC </a:t>
                </a:r>
                <a:r>
                  <a:rPr lang="en" sz="6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 Application API</a:t>
                </a:r>
                <a:endParaRPr sz="6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678" name="Google Shape;678;p68"/>
              <p:cNvGrpSpPr/>
              <p:nvPr/>
            </p:nvGrpSpPr>
            <p:grpSpPr>
              <a:xfrm>
                <a:off x="1232362" y="2092777"/>
                <a:ext cx="7001686" cy="1118394"/>
                <a:chOff x="2325194" y="2653098"/>
                <a:chExt cx="7001686" cy="1118394"/>
              </a:xfrm>
            </p:grpSpPr>
            <p:grpSp>
              <p:nvGrpSpPr>
                <p:cNvPr id="679" name="Google Shape;679;p68"/>
                <p:cNvGrpSpPr/>
                <p:nvPr/>
              </p:nvGrpSpPr>
              <p:grpSpPr>
                <a:xfrm>
                  <a:off x="2325194" y="2653098"/>
                  <a:ext cx="7001686" cy="1118394"/>
                  <a:chOff x="2325194" y="2225697"/>
                  <a:chExt cx="7001686" cy="1118394"/>
                </a:xfrm>
              </p:grpSpPr>
              <p:sp>
                <p:nvSpPr>
                  <p:cNvPr id="680" name="Google Shape;680;p68"/>
                  <p:cNvSpPr/>
                  <p:nvPr/>
                </p:nvSpPr>
                <p:spPr>
                  <a:xfrm>
                    <a:off x="2325194" y="2225697"/>
                    <a:ext cx="7001686" cy="800291"/>
                  </a:xfrm>
                  <a:prstGeom prst="rect">
                    <a:avLst/>
                  </a:prstGeom>
                  <a:solidFill>
                    <a:srgbClr val="AC2138"/>
                  </a:solidFill>
                  <a:ln w="19050" cap="flat" cmpd="sng">
                    <a:solidFill>
                      <a:srgbClr val="00000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Pts val="800"/>
                      <a:buFont typeface="Arial"/>
                      <a:buNone/>
                    </a:pPr>
                    <a:endParaRPr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cxnSp>
                <p:nvCxnSpPr>
                  <p:cNvPr id="681" name="Google Shape;681;p68"/>
                  <p:cNvCxnSpPr/>
                  <p:nvPr/>
                </p:nvCxnSpPr>
                <p:spPr>
                  <a:xfrm>
                    <a:off x="3944983" y="2233749"/>
                    <a:ext cx="0" cy="1110342"/>
                  </a:xfrm>
                  <a:prstGeom prst="straightConnector1">
                    <a:avLst/>
                  </a:prstGeom>
                  <a:noFill/>
                  <a:ln w="19050" cap="flat" cmpd="sng">
                    <a:solidFill>
                      <a:srgbClr val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  <p:cxnSp>
                <p:nvCxnSpPr>
                  <p:cNvPr id="682" name="Google Shape;682;p68"/>
                  <p:cNvCxnSpPr/>
                  <p:nvPr/>
                </p:nvCxnSpPr>
                <p:spPr>
                  <a:xfrm>
                    <a:off x="7689669" y="2233749"/>
                    <a:ext cx="0" cy="1110342"/>
                  </a:xfrm>
                  <a:prstGeom prst="straightConnector1">
                    <a:avLst/>
                  </a:prstGeom>
                  <a:noFill/>
                  <a:ln w="19050" cap="flat" cmpd="sng">
                    <a:solidFill>
                      <a:srgbClr val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</p:cxnSp>
            </p:grpSp>
            <p:sp>
              <p:nvSpPr>
                <p:cNvPr id="683" name="Google Shape;683;p68"/>
                <p:cNvSpPr txBox="1"/>
                <p:nvPr/>
              </p:nvSpPr>
              <p:spPr>
                <a:xfrm>
                  <a:off x="4086224" y="2735965"/>
                  <a:ext cx="3461823" cy="261610"/>
                </a:xfrm>
                <a:prstGeom prst="rect">
                  <a:avLst/>
                </a:prstGeom>
                <a:no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800"/>
                    <a:buFont typeface="Arial"/>
                    <a:buNone/>
                  </a:pPr>
                  <a:r>
                    <a:rPr lang="en"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Blockchain Application Programming Interface (API)</a:t>
                  </a:r>
                  <a:endParaRPr sz="1100"/>
                </a:p>
              </p:txBody>
            </p:sp>
            <p:sp>
              <p:nvSpPr>
                <p:cNvPr id="684" name="Google Shape;684;p68"/>
                <p:cNvSpPr txBox="1"/>
                <p:nvPr/>
              </p:nvSpPr>
              <p:spPr>
                <a:xfrm>
                  <a:off x="4124526" y="3072993"/>
                  <a:ext cx="1609725" cy="261610"/>
                </a:xfrm>
                <a:prstGeom prst="rect">
                  <a:avLst/>
                </a:prstGeom>
                <a:no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800"/>
                    <a:buFont typeface="Arial"/>
                    <a:buNone/>
                  </a:pPr>
                  <a:r>
                    <a:rPr lang="en"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Contract Calls</a:t>
                  </a:r>
                  <a:endParaRPr sz="1100"/>
                </a:p>
              </p:txBody>
            </p:sp>
            <p:sp>
              <p:nvSpPr>
                <p:cNvPr id="685" name="Google Shape;685;p68"/>
                <p:cNvSpPr txBox="1"/>
                <p:nvPr/>
              </p:nvSpPr>
              <p:spPr>
                <a:xfrm>
                  <a:off x="5938703" y="3085516"/>
                  <a:ext cx="1609344" cy="261610"/>
                </a:xfrm>
                <a:prstGeom prst="rect">
                  <a:avLst/>
                </a:prstGeom>
                <a:no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800"/>
                    <a:buFont typeface="Arial"/>
                    <a:buNone/>
                  </a:pPr>
                  <a:r>
                    <a:rPr lang="en"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Event Listener</a:t>
                  </a:r>
                  <a:endParaRPr sz="1100"/>
                </a:p>
              </p:txBody>
            </p:sp>
            <p:sp>
              <p:nvSpPr>
                <p:cNvPr id="686" name="Google Shape;686;p68"/>
                <p:cNvSpPr txBox="1"/>
                <p:nvPr/>
              </p:nvSpPr>
              <p:spPr>
                <a:xfrm>
                  <a:off x="2442590" y="2827743"/>
                  <a:ext cx="1360800" cy="404400"/>
                </a:xfrm>
                <a:prstGeom prst="rect">
                  <a:avLst/>
                </a:prstGeom>
                <a:no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800"/>
                    <a:buFont typeface="Arial"/>
                    <a:buNone/>
                  </a:pPr>
                  <a:r>
                    <a:rPr lang="en" sz="800">
                      <a:solidFill>
                        <a:srgbClr val="FFFFFF"/>
                      </a:solidFill>
                    </a:rPr>
                    <a:t>Legacy application</a:t>
                  </a:r>
                  <a:r>
                    <a:rPr lang="en"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 Connectors</a:t>
                  </a:r>
                  <a:endParaRPr sz="1100"/>
                </a:p>
              </p:txBody>
            </p:sp>
            <p:sp>
              <p:nvSpPr>
                <p:cNvPr id="687" name="Google Shape;687;p68"/>
                <p:cNvSpPr txBox="1"/>
                <p:nvPr/>
              </p:nvSpPr>
              <p:spPr>
                <a:xfrm>
                  <a:off x="7827889" y="2827743"/>
                  <a:ext cx="1360772" cy="430887"/>
                </a:xfrm>
                <a:prstGeom prst="rect">
                  <a:avLst/>
                </a:prstGeom>
                <a:no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75" tIns="34275" rIns="68575" bIns="34275" anchor="t" anchorCtr="0">
                  <a:sp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800"/>
                    <a:buFont typeface="Arial"/>
                    <a:buNone/>
                  </a:pPr>
                  <a:r>
                    <a:rPr lang="en" sz="800" b="0" i="0" u="none" strike="noStrike" cap="none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  <a:sym typeface="Arial"/>
                    </a:rPr>
                    <a:t>Data Gathering APIs</a:t>
                  </a:r>
                  <a:endParaRPr sz="1100"/>
                </a:p>
              </p:txBody>
            </p:sp>
          </p:grpSp>
          <p:cxnSp>
            <p:nvCxnSpPr>
              <p:cNvPr id="688" name="Google Shape;688;p68"/>
              <p:cNvCxnSpPr/>
              <p:nvPr/>
            </p:nvCxnSpPr>
            <p:spPr>
              <a:xfrm>
                <a:off x="456753" y="3325711"/>
                <a:ext cx="8321040" cy="0"/>
              </a:xfrm>
              <a:prstGeom prst="straightConnector1">
                <a:avLst/>
              </a:prstGeom>
              <a:noFill/>
              <a:ln w="76200" cap="flat" cmpd="sng">
                <a:solidFill>
                  <a:srgbClr val="E0301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689" name="Google Shape;689;p68"/>
              <p:cNvSpPr/>
              <p:nvPr/>
            </p:nvSpPr>
            <p:spPr>
              <a:xfrm>
                <a:off x="1250495" y="3082213"/>
                <a:ext cx="7001685" cy="200587"/>
              </a:xfrm>
              <a:prstGeom prst="rect">
                <a:avLst/>
              </a:prstGeom>
              <a:solidFill>
                <a:srgbClr val="F4CCCC"/>
              </a:solidFill>
              <a:ln w="9525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600"/>
                  <a:buFont typeface="Arial"/>
                  <a:buNone/>
                </a:pPr>
                <a:r>
                  <a:rPr lang="en" sz="6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Platform Specific functions/APIs</a:t>
                </a:r>
                <a:endParaRPr sz="1100"/>
              </a:p>
            </p:txBody>
          </p:sp>
          <p:sp>
            <p:nvSpPr>
              <p:cNvPr id="690" name="Google Shape;690;p68"/>
              <p:cNvSpPr/>
              <p:nvPr/>
            </p:nvSpPr>
            <p:spPr>
              <a:xfrm>
                <a:off x="1250495" y="3431437"/>
                <a:ext cx="6048740" cy="1110342"/>
              </a:xfrm>
              <a:prstGeom prst="rect">
                <a:avLst/>
              </a:prstGeom>
              <a:solidFill>
                <a:srgbClr val="481A17"/>
              </a:solidFill>
              <a:ln w="19050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1" name="Google Shape;691;p68"/>
              <p:cNvSpPr txBox="1"/>
              <p:nvPr/>
            </p:nvSpPr>
            <p:spPr>
              <a:xfrm>
                <a:off x="1250494" y="3431437"/>
                <a:ext cx="2400900" cy="226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>
                  <a:buClr>
                    <a:srgbClr val="FFFFFF"/>
                  </a:buClr>
                  <a:buSzPts val="700"/>
                </a:pPr>
                <a:r>
                  <a:rPr lang="en" sz="700" b="0" i="0" u="none" strike="noStrike" cap="none">
                    <a:solidFill>
                      <a:srgbClr val="FFFFFF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Private</a:t>
                </a:r>
                <a:r>
                  <a:rPr lang="en" sz="700">
                    <a:solidFill>
                      <a:srgbClr val="FFFFFF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 Blockchain </a:t>
                </a:r>
                <a:r>
                  <a:rPr lang="en" sz="700" b="0" i="0" u="none" strike="noStrike" cap="none">
                    <a:solidFill>
                      <a:srgbClr val="FFFFFF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 Network</a:t>
                </a:r>
                <a:endParaRPr sz="1100"/>
              </a:p>
            </p:txBody>
          </p:sp>
          <p:sp>
            <p:nvSpPr>
              <p:cNvPr id="692" name="Google Shape;692;p68"/>
              <p:cNvSpPr txBox="1"/>
              <p:nvPr/>
            </p:nvSpPr>
            <p:spPr>
              <a:xfrm>
                <a:off x="1394053" y="3757012"/>
                <a:ext cx="2331762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 dirty="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Smart Contract Conditions</a:t>
                </a:r>
                <a:endParaRPr sz="1100" dirty="0"/>
              </a:p>
            </p:txBody>
          </p:sp>
          <p:sp>
            <p:nvSpPr>
              <p:cNvPr id="693" name="Google Shape;693;p68"/>
              <p:cNvSpPr txBox="1"/>
              <p:nvPr/>
            </p:nvSpPr>
            <p:spPr>
              <a:xfrm>
                <a:off x="3868199" y="3757010"/>
                <a:ext cx="1105846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Events</a:t>
                </a:r>
                <a:endParaRPr sz="1100"/>
              </a:p>
            </p:txBody>
          </p:sp>
          <p:sp>
            <p:nvSpPr>
              <p:cNvPr id="694" name="Google Shape;694;p68"/>
              <p:cNvSpPr txBox="1"/>
              <p:nvPr/>
            </p:nvSpPr>
            <p:spPr>
              <a:xfrm>
                <a:off x="5107549" y="3757009"/>
                <a:ext cx="2046548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Blockchain Ledger</a:t>
                </a:r>
                <a:endParaRPr sz="1100"/>
              </a:p>
            </p:txBody>
          </p:sp>
          <p:sp>
            <p:nvSpPr>
              <p:cNvPr id="695" name="Google Shape;695;p68"/>
              <p:cNvSpPr txBox="1"/>
              <p:nvPr/>
            </p:nvSpPr>
            <p:spPr>
              <a:xfrm>
                <a:off x="1394052" y="4158322"/>
                <a:ext cx="2331763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Communication Protocol</a:t>
                </a:r>
                <a:endParaRPr sz="1100"/>
              </a:p>
            </p:txBody>
          </p:sp>
          <p:sp>
            <p:nvSpPr>
              <p:cNvPr id="696" name="Google Shape;696;p68"/>
              <p:cNvSpPr txBox="1"/>
              <p:nvPr/>
            </p:nvSpPr>
            <p:spPr>
              <a:xfrm>
                <a:off x="3868199" y="4158322"/>
                <a:ext cx="1105846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Consensus</a:t>
                </a:r>
                <a:endParaRPr sz="1100"/>
              </a:p>
            </p:txBody>
          </p:sp>
          <p:sp>
            <p:nvSpPr>
              <p:cNvPr id="697" name="Google Shape;697;p68"/>
              <p:cNvSpPr txBox="1"/>
              <p:nvPr/>
            </p:nvSpPr>
            <p:spPr>
              <a:xfrm>
                <a:off x="5120612" y="4158320"/>
                <a:ext cx="2046548" cy="26161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800"/>
                  <a:buFont typeface="Arial"/>
                  <a:buNone/>
                </a:pPr>
                <a:r>
                  <a:rPr lang="en" sz="8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Cryptographic Services</a:t>
                </a:r>
                <a:endParaRPr sz="1100"/>
              </a:p>
            </p:txBody>
          </p:sp>
          <p:sp>
            <p:nvSpPr>
              <p:cNvPr id="698" name="Google Shape;698;p68"/>
              <p:cNvSpPr txBox="1"/>
              <p:nvPr/>
            </p:nvSpPr>
            <p:spPr>
              <a:xfrm rot="-5400000">
                <a:off x="-475832" y="2356021"/>
                <a:ext cx="1404789" cy="313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C7C7B"/>
                  </a:buClr>
                  <a:buSzPts val="1400"/>
                  <a:buFont typeface="Arial"/>
                  <a:buNone/>
                </a:pPr>
                <a:r>
                  <a:rPr lang="en" sz="700" b="1" i="0" u="none" strike="noStrike" cap="none">
                    <a:solidFill>
                      <a:srgbClr val="7C7C7B"/>
                    </a:solidFill>
                    <a:latin typeface="Arial"/>
                    <a:ea typeface="Arial"/>
                    <a:cs typeface="Arial"/>
                    <a:sym typeface="Arial"/>
                  </a:rPr>
                  <a:t>API Layer</a:t>
                </a:r>
                <a:endParaRPr sz="700" b="1" i="0" u="none" strike="noStrike" cap="none">
                  <a:solidFill>
                    <a:srgbClr val="7C7C7B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9" name="Google Shape;699;p68"/>
              <p:cNvSpPr/>
              <p:nvPr/>
            </p:nvSpPr>
            <p:spPr>
              <a:xfrm>
                <a:off x="7350022" y="3431437"/>
                <a:ext cx="926069" cy="1110342"/>
              </a:xfrm>
              <a:prstGeom prst="rect">
                <a:avLst/>
              </a:prstGeom>
              <a:solidFill>
                <a:srgbClr val="56503E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</a:pPr>
                <a:endParaRPr sz="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0" name="Google Shape;700;p68"/>
              <p:cNvSpPr txBox="1"/>
              <p:nvPr/>
            </p:nvSpPr>
            <p:spPr>
              <a:xfrm>
                <a:off x="7270270" y="3661798"/>
                <a:ext cx="1085573" cy="1885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75" tIns="34275" rIns="68575" bIns="34275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800" b="0" i="0" u="none" strike="noStrike" cap="none" dirty="0">
                    <a:solidFill>
                      <a:srgbClr val="FFFFFF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Off-chain database</a:t>
                </a:r>
                <a:endParaRPr sz="1100" dirty="0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3F6EEB-BB95-4CB9-AA26-4ED0D4B80B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7" name="think-cell Slide" r:id="rId5" imgW="443" imgH="443" progId="TCLayout.ActiveDocument.1">
                  <p:embed/>
                </p:oleObj>
              </mc:Choice>
              <mc:Fallback>
                <p:oleObj name="think-cell Slide" r:id="rId5" imgW="443" imgH="4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3F6EEB-BB95-4CB9-AA26-4ED0D4B80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2184" y="3887550"/>
            <a:ext cx="8479632" cy="1088708"/>
          </a:xfrm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spcAft>
                <a:spcPts val="450"/>
              </a:spcAft>
            </a:pPr>
            <a:r>
              <a:rPr lang="en-US" sz="750" dirty="0"/>
              <a:t>All images in this presentation are protected by copyright, trademark, patent, trade secret and other intellectual property laws and treaties. Any </a:t>
            </a:r>
            <a:r>
              <a:rPr lang="en-US" sz="750" dirty="0" err="1"/>
              <a:t>unauthorised</a:t>
            </a:r>
            <a:r>
              <a:rPr lang="en-US" sz="750" dirty="0"/>
              <a:t> use of these images may violate such laws and shall be punishable under appropriate laws. Our sharing of this presentation along with such protected images with you does not </a:t>
            </a:r>
            <a:r>
              <a:rPr lang="en-US" sz="750" dirty="0" err="1"/>
              <a:t>authorise</a:t>
            </a:r>
            <a:r>
              <a:rPr lang="en-US" sz="750" dirty="0"/>
              <a:t> you to copy, republish, frame, link to, download, transmit, modify, adapt, create derivative works based on, rent, lease, loan, sell, assign, distribute, display, perform, license, sub-license or reverse engineer the images. In addition, you should desist from employing any data mining, robots or similar data and/or image gathering and extraction methods in connection with the presentation.</a:t>
            </a:r>
          </a:p>
          <a:p>
            <a:pPr>
              <a:spcAft>
                <a:spcPts val="450"/>
              </a:spcAft>
            </a:pPr>
            <a:r>
              <a:rPr lang="en-US" sz="750" dirty="0"/>
              <a:t>© 2022 PricewaterhouseCoopers Private Limited. All rights reserved. In this document, “PwC” refers to PricewaterhouseCoopers Private Limited (a limited liability company in India having Corporate Identity Number or CIN : U74140WB1983PTC036093), which is a member firm of PricewaterhouseCoopers International Limited (</a:t>
            </a:r>
            <a:r>
              <a:rPr lang="en-US" sz="750" dirty="0" err="1"/>
              <a:t>PwCIL</a:t>
            </a:r>
            <a:r>
              <a:rPr lang="en-US" sz="750" dirty="0"/>
              <a:t>), each member firm of which is a separate legal entity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473EF6-2299-4737-B4C3-222FCC399BC5}"/>
              </a:ext>
            </a:extLst>
          </p:cNvPr>
          <p:cNvSpPr txBox="1"/>
          <p:nvPr/>
        </p:nvSpPr>
        <p:spPr>
          <a:xfrm>
            <a:off x="510576" y="944593"/>
            <a:ext cx="3319013" cy="6232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en-US" sz="4050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46597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38"/>
          <p:cNvSpPr txBox="1">
            <a:spLocks noGrp="1"/>
          </p:cNvSpPr>
          <p:nvPr>
            <p:ph type="title"/>
          </p:nvPr>
        </p:nvSpPr>
        <p:spPr>
          <a:xfrm>
            <a:off x="365633" y="401215"/>
            <a:ext cx="8479631" cy="26350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r>
              <a:rPr lang="en-GB" sz="2200" b="0" dirty="0"/>
              <a:t>What is Blockchain?</a:t>
            </a:r>
            <a:endParaRPr sz="2200" b="0" dirty="0"/>
          </a:p>
        </p:txBody>
      </p:sp>
      <p:sp>
        <p:nvSpPr>
          <p:cNvPr id="909" name="Google Shape;909;p138"/>
          <p:cNvSpPr txBox="1"/>
          <p:nvPr/>
        </p:nvSpPr>
        <p:spPr>
          <a:xfrm>
            <a:off x="296615" y="4512395"/>
            <a:ext cx="4105276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 defTabSz="764118">
              <a:buClrTx/>
            </a:pPr>
            <a:r>
              <a:rPr lang="en-GB" sz="563" kern="1200">
                <a:ea typeface="+mn-ea"/>
                <a:cs typeface="+mn-cs"/>
              </a:rPr>
              <a:t>Blockchain for </a:t>
            </a:r>
            <a:r>
              <a:rPr lang="en-GB" sz="563" kern="1200" err="1">
                <a:ea typeface="+mn-ea"/>
                <a:cs typeface="+mn-cs"/>
              </a:rPr>
              <a:t>Ceat</a:t>
            </a:r>
            <a:r>
              <a:rPr lang="en-GB" sz="563" kern="1200">
                <a:ea typeface="+mn-ea"/>
                <a:cs typeface="+mn-cs"/>
              </a:rPr>
              <a:t> Proposal</a:t>
            </a:r>
            <a:endParaRPr sz="1050" kern="1200">
              <a:ea typeface="+mn-ea"/>
              <a:cs typeface="+mn-cs"/>
            </a:endParaRPr>
          </a:p>
          <a:p>
            <a:pPr algn="ctr" defTabSz="764118">
              <a:buClrTx/>
            </a:pPr>
            <a:endParaRPr sz="563" kern="1200">
              <a:ea typeface="+mn-ea"/>
              <a:cs typeface="+mn-cs"/>
            </a:endParaRPr>
          </a:p>
        </p:txBody>
      </p:sp>
      <p:sp>
        <p:nvSpPr>
          <p:cNvPr id="910" name="Google Shape;910;p138"/>
          <p:cNvSpPr txBox="1"/>
          <p:nvPr/>
        </p:nvSpPr>
        <p:spPr>
          <a:xfrm>
            <a:off x="7452652" y="4512395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r" defTabSz="764118">
              <a:buClrTx/>
            </a:pPr>
            <a:r>
              <a:rPr lang="en-GB" sz="563" kern="1200">
                <a:ea typeface="+mn-ea"/>
                <a:cs typeface="+mn-cs"/>
              </a:rPr>
              <a:t>October 2020</a:t>
            </a:r>
            <a:endParaRPr sz="563" kern="1200">
              <a:ea typeface="+mn-ea"/>
              <a:cs typeface="+mn-cs"/>
            </a:endParaRPr>
          </a:p>
        </p:txBody>
      </p:sp>
      <p:sp>
        <p:nvSpPr>
          <p:cNvPr id="911" name="Google Shape;911;p138"/>
          <p:cNvSpPr txBox="1"/>
          <p:nvPr/>
        </p:nvSpPr>
        <p:spPr>
          <a:xfrm>
            <a:off x="7452652" y="4615265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r" defTabSz="764118">
              <a:buClrTx/>
            </a:pPr>
            <a:fld id="{00000000-1234-1234-1234-123412341234}" type="slidenum">
              <a:rPr lang="en-GB" sz="563" kern="1200">
                <a:ea typeface="+mn-ea"/>
                <a:cs typeface="+mn-cs"/>
              </a:rPr>
              <a:pPr algn="r" defTabSz="764118">
                <a:buClrTx/>
              </a:pPr>
              <a:t>2</a:t>
            </a:fld>
            <a:endParaRPr sz="563" kern="1200">
              <a:ea typeface="+mn-ea"/>
              <a:cs typeface="+mn-cs"/>
            </a:endParaRPr>
          </a:p>
        </p:txBody>
      </p:sp>
      <p:sp>
        <p:nvSpPr>
          <p:cNvPr id="912" name="Google Shape;912;p138"/>
          <p:cNvSpPr/>
          <p:nvPr/>
        </p:nvSpPr>
        <p:spPr>
          <a:xfrm>
            <a:off x="251292" y="1427941"/>
            <a:ext cx="3913134" cy="33341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13" name="Google Shape;913;p138"/>
          <p:cNvSpPr/>
          <p:nvPr/>
        </p:nvSpPr>
        <p:spPr>
          <a:xfrm>
            <a:off x="4580370" y="1427941"/>
            <a:ext cx="4186920" cy="333414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14" name="Google Shape;914;p138"/>
          <p:cNvSpPr/>
          <p:nvPr/>
        </p:nvSpPr>
        <p:spPr>
          <a:xfrm>
            <a:off x="383589" y="1790911"/>
            <a:ext cx="471488" cy="471488"/>
          </a:xfrm>
          <a:custGeom>
            <a:avLst/>
            <a:gdLst/>
            <a:ahLst/>
            <a:cxnLst/>
            <a:rect l="l" t="t" r="r" b="b"/>
            <a:pathLst>
              <a:path w="396" h="396" extrusionOk="0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135"/>
                </a:moveTo>
                <a:lnTo>
                  <a:pt x="355" y="135"/>
                </a:lnTo>
                <a:lnTo>
                  <a:pt x="355" y="111"/>
                </a:lnTo>
                <a:lnTo>
                  <a:pt x="290" y="111"/>
                </a:lnTo>
                <a:lnTo>
                  <a:pt x="290" y="135"/>
                </a:lnTo>
                <a:lnTo>
                  <a:pt x="250" y="135"/>
                </a:lnTo>
                <a:lnTo>
                  <a:pt x="250" y="109"/>
                </a:lnTo>
                <a:lnTo>
                  <a:pt x="274" y="109"/>
                </a:lnTo>
                <a:lnTo>
                  <a:pt x="274" y="42"/>
                </a:lnTo>
                <a:lnTo>
                  <a:pt x="250" y="42"/>
                </a:lnTo>
                <a:lnTo>
                  <a:pt x="250" y="17"/>
                </a:lnTo>
                <a:lnTo>
                  <a:pt x="379" y="17"/>
                </a:lnTo>
                <a:lnTo>
                  <a:pt x="379" y="135"/>
                </a:lnTo>
                <a:close/>
                <a:moveTo>
                  <a:pt x="339" y="127"/>
                </a:moveTo>
                <a:lnTo>
                  <a:pt x="339" y="159"/>
                </a:lnTo>
                <a:lnTo>
                  <a:pt x="307" y="159"/>
                </a:lnTo>
                <a:lnTo>
                  <a:pt x="307" y="127"/>
                </a:lnTo>
                <a:lnTo>
                  <a:pt x="339" y="127"/>
                </a:lnTo>
                <a:close/>
                <a:moveTo>
                  <a:pt x="314" y="354"/>
                </a:moveTo>
                <a:lnTo>
                  <a:pt x="314" y="379"/>
                </a:lnTo>
                <a:lnTo>
                  <a:pt x="167" y="379"/>
                </a:lnTo>
                <a:lnTo>
                  <a:pt x="167" y="354"/>
                </a:lnTo>
                <a:lnTo>
                  <a:pt x="192" y="354"/>
                </a:lnTo>
                <a:lnTo>
                  <a:pt x="192" y="330"/>
                </a:lnTo>
                <a:lnTo>
                  <a:pt x="290" y="330"/>
                </a:lnTo>
                <a:lnTo>
                  <a:pt x="290" y="354"/>
                </a:lnTo>
                <a:lnTo>
                  <a:pt x="314" y="354"/>
                </a:lnTo>
                <a:close/>
                <a:moveTo>
                  <a:pt x="307" y="336"/>
                </a:moveTo>
                <a:lnTo>
                  <a:pt x="307" y="304"/>
                </a:lnTo>
                <a:lnTo>
                  <a:pt x="339" y="304"/>
                </a:lnTo>
                <a:lnTo>
                  <a:pt x="339" y="336"/>
                </a:lnTo>
                <a:lnTo>
                  <a:pt x="307" y="336"/>
                </a:lnTo>
                <a:close/>
                <a:moveTo>
                  <a:pt x="175" y="304"/>
                </a:moveTo>
                <a:lnTo>
                  <a:pt x="175" y="336"/>
                </a:lnTo>
                <a:lnTo>
                  <a:pt x="143" y="336"/>
                </a:lnTo>
                <a:lnTo>
                  <a:pt x="143" y="304"/>
                </a:lnTo>
                <a:lnTo>
                  <a:pt x="175" y="304"/>
                </a:lnTo>
                <a:close/>
                <a:moveTo>
                  <a:pt x="192" y="312"/>
                </a:moveTo>
                <a:lnTo>
                  <a:pt x="192" y="287"/>
                </a:lnTo>
                <a:lnTo>
                  <a:pt x="167" y="287"/>
                </a:lnTo>
                <a:lnTo>
                  <a:pt x="167" y="220"/>
                </a:lnTo>
                <a:lnTo>
                  <a:pt x="208" y="220"/>
                </a:lnTo>
                <a:lnTo>
                  <a:pt x="208" y="245"/>
                </a:lnTo>
                <a:lnTo>
                  <a:pt x="232" y="245"/>
                </a:lnTo>
                <a:lnTo>
                  <a:pt x="232" y="312"/>
                </a:lnTo>
                <a:lnTo>
                  <a:pt x="192" y="312"/>
                </a:lnTo>
                <a:close/>
                <a:moveTo>
                  <a:pt x="224" y="228"/>
                </a:moveTo>
                <a:lnTo>
                  <a:pt x="224" y="196"/>
                </a:lnTo>
                <a:lnTo>
                  <a:pt x="256" y="196"/>
                </a:lnTo>
                <a:lnTo>
                  <a:pt x="256" y="228"/>
                </a:lnTo>
                <a:lnTo>
                  <a:pt x="224" y="228"/>
                </a:lnTo>
                <a:close/>
                <a:moveTo>
                  <a:pt x="208" y="179"/>
                </a:moveTo>
                <a:lnTo>
                  <a:pt x="208" y="203"/>
                </a:lnTo>
                <a:lnTo>
                  <a:pt x="110" y="203"/>
                </a:lnTo>
                <a:lnTo>
                  <a:pt x="110" y="179"/>
                </a:lnTo>
                <a:lnTo>
                  <a:pt x="86" y="179"/>
                </a:lnTo>
                <a:lnTo>
                  <a:pt x="86" y="109"/>
                </a:lnTo>
                <a:lnTo>
                  <a:pt x="110" y="109"/>
                </a:lnTo>
                <a:lnTo>
                  <a:pt x="110" y="42"/>
                </a:lnTo>
                <a:lnTo>
                  <a:pt x="86" y="42"/>
                </a:lnTo>
                <a:lnTo>
                  <a:pt x="86" y="17"/>
                </a:lnTo>
                <a:lnTo>
                  <a:pt x="232" y="17"/>
                </a:lnTo>
                <a:lnTo>
                  <a:pt x="232" y="42"/>
                </a:lnTo>
                <a:lnTo>
                  <a:pt x="208" y="42"/>
                </a:lnTo>
                <a:lnTo>
                  <a:pt x="208" y="109"/>
                </a:lnTo>
                <a:lnTo>
                  <a:pt x="232" y="109"/>
                </a:lnTo>
                <a:lnTo>
                  <a:pt x="232" y="179"/>
                </a:lnTo>
                <a:lnTo>
                  <a:pt x="208" y="179"/>
                </a:lnTo>
                <a:close/>
                <a:moveTo>
                  <a:pt x="93" y="196"/>
                </a:moveTo>
                <a:lnTo>
                  <a:pt x="93" y="228"/>
                </a:lnTo>
                <a:lnTo>
                  <a:pt x="61" y="228"/>
                </a:lnTo>
                <a:lnTo>
                  <a:pt x="61" y="196"/>
                </a:lnTo>
                <a:lnTo>
                  <a:pt x="93" y="196"/>
                </a:lnTo>
                <a:close/>
                <a:moveTo>
                  <a:pt x="93" y="60"/>
                </a:moveTo>
                <a:lnTo>
                  <a:pt x="93" y="92"/>
                </a:lnTo>
                <a:lnTo>
                  <a:pt x="61" y="92"/>
                </a:lnTo>
                <a:lnTo>
                  <a:pt x="61" y="60"/>
                </a:lnTo>
                <a:lnTo>
                  <a:pt x="93" y="60"/>
                </a:lnTo>
                <a:close/>
                <a:moveTo>
                  <a:pt x="224" y="92"/>
                </a:moveTo>
                <a:lnTo>
                  <a:pt x="224" y="60"/>
                </a:lnTo>
                <a:lnTo>
                  <a:pt x="256" y="60"/>
                </a:lnTo>
                <a:lnTo>
                  <a:pt x="256" y="92"/>
                </a:lnTo>
                <a:lnTo>
                  <a:pt x="224" y="92"/>
                </a:lnTo>
                <a:close/>
                <a:moveTo>
                  <a:pt x="16" y="17"/>
                </a:moveTo>
                <a:lnTo>
                  <a:pt x="69" y="17"/>
                </a:lnTo>
                <a:lnTo>
                  <a:pt x="69" y="42"/>
                </a:lnTo>
                <a:lnTo>
                  <a:pt x="45" y="42"/>
                </a:lnTo>
                <a:lnTo>
                  <a:pt x="45" y="109"/>
                </a:lnTo>
                <a:lnTo>
                  <a:pt x="69" y="109"/>
                </a:lnTo>
                <a:lnTo>
                  <a:pt x="69" y="179"/>
                </a:lnTo>
                <a:lnTo>
                  <a:pt x="45" y="179"/>
                </a:lnTo>
                <a:lnTo>
                  <a:pt x="45" y="245"/>
                </a:lnTo>
                <a:lnTo>
                  <a:pt x="110" y="245"/>
                </a:lnTo>
                <a:lnTo>
                  <a:pt x="110" y="220"/>
                </a:lnTo>
                <a:lnTo>
                  <a:pt x="150" y="220"/>
                </a:lnTo>
                <a:lnTo>
                  <a:pt x="150" y="287"/>
                </a:lnTo>
                <a:lnTo>
                  <a:pt x="126" y="287"/>
                </a:lnTo>
                <a:lnTo>
                  <a:pt x="126" y="354"/>
                </a:lnTo>
                <a:lnTo>
                  <a:pt x="150" y="354"/>
                </a:lnTo>
                <a:lnTo>
                  <a:pt x="150" y="379"/>
                </a:lnTo>
                <a:lnTo>
                  <a:pt x="16" y="379"/>
                </a:lnTo>
                <a:lnTo>
                  <a:pt x="16" y="17"/>
                </a:lnTo>
                <a:close/>
                <a:moveTo>
                  <a:pt x="331" y="379"/>
                </a:moveTo>
                <a:lnTo>
                  <a:pt x="331" y="354"/>
                </a:lnTo>
                <a:lnTo>
                  <a:pt x="355" y="354"/>
                </a:lnTo>
                <a:lnTo>
                  <a:pt x="355" y="287"/>
                </a:lnTo>
                <a:lnTo>
                  <a:pt x="290" y="287"/>
                </a:lnTo>
                <a:lnTo>
                  <a:pt x="290" y="312"/>
                </a:lnTo>
                <a:lnTo>
                  <a:pt x="250" y="312"/>
                </a:lnTo>
                <a:lnTo>
                  <a:pt x="250" y="245"/>
                </a:lnTo>
                <a:lnTo>
                  <a:pt x="274" y="245"/>
                </a:lnTo>
                <a:lnTo>
                  <a:pt x="274" y="179"/>
                </a:lnTo>
                <a:lnTo>
                  <a:pt x="250" y="179"/>
                </a:lnTo>
                <a:lnTo>
                  <a:pt x="250" y="152"/>
                </a:lnTo>
                <a:lnTo>
                  <a:pt x="290" y="152"/>
                </a:lnTo>
                <a:lnTo>
                  <a:pt x="290" y="176"/>
                </a:lnTo>
                <a:lnTo>
                  <a:pt x="355" y="176"/>
                </a:lnTo>
                <a:lnTo>
                  <a:pt x="355" y="152"/>
                </a:lnTo>
                <a:lnTo>
                  <a:pt x="379" y="152"/>
                </a:lnTo>
                <a:lnTo>
                  <a:pt x="379" y="379"/>
                </a:lnTo>
                <a:lnTo>
                  <a:pt x="331" y="37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endParaRPr sz="1050" kern="1200">
              <a:ea typeface="+mn-ea"/>
              <a:cs typeface="+mn-cs"/>
            </a:endParaRPr>
          </a:p>
        </p:txBody>
      </p:sp>
      <p:sp>
        <p:nvSpPr>
          <p:cNvPr id="915" name="Google Shape;915;p138"/>
          <p:cNvSpPr/>
          <p:nvPr/>
        </p:nvSpPr>
        <p:spPr>
          <a:xfrm>
            <a:off x="238149" y="1440265"/>
            <a:ext cx="3939427" cy="253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 defTabSz="764118">
              <a:buClrTx/>
            </a:pPr>
            <a:r>
              <a:rPr lang="en-GB" sz="1200" b="1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Key characteristics of blockchain technology</a:t>
            </a:r>
            <a:endParaRPr sz="1200" b="1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16" name="Google Shape;916;p138"/>
          <p:cNvSpPr/>
          <p:nvPr/>
        </p:nvSpPr>
        <p:spPr>
          <a:xfrm>
            <a:off x="4554379" y="1443940"/>
            <a:ext cx="4232283" cy="253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 defTabSz="764118">
              <a:buClrTx/>
            </a:pPr>
            <a:r>
              <a:rPr lang="en-GB" sz="1200" b="1" kern="1200">
                <a:latin typeface="+mj-lt"/>
                <a:ea typeface="+mn-ea"/>
                <a:cs typeface="+mn-cs"/>
              </a:rPr>
              <a:t>What’s in it for you</a:t>
            </a:r>
            <a:endParaRPr sz="1200" b="1" kern="1200">
              <a:latin typeface="+mj-lt"/>
              <a:ea typeface="+mn-ea"/>
              <a:cs typeface="+mn-cs"/>
            </a:endParaRPr>
          </a:p>
        </p:txBody>
      </p:sp>
      <p:sp>
        <p:nvSpPr>
          <p:cNvPr id="917" name="Google Shape;917;p138"/>
          <p:cNvSpPr/>
          <p:nvPr/>
        </p:nvSpPr>
        <p:spPr>
          <a:xfrm>
            <a:off x="915040" y="1825826"/>
            <a:ext cx="3249389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Shared Ledger </a:t>
            </a:r>
            <a:r>
              <a:rPr lang="en-GB" sz="1200" kern="1200" dirty="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across a secure and trusted network   </a:t>
            </a:r>
            <a:endParaRPr sz="1200" kern="1200" dirty="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18" name="Google Shape;918;p138"/>
          <p:cNvSpPr/>
          <p:nvPr/>
        </p:nvSpPr>
        <p:spPr>
          <a:xfrm rot="5400000">
            <a:off x="4108726" y="1975035"/>
            <a:ext cx="522167" cy="104647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19" name="Google Shape;919;p138"/>
          <p:cNvSpPr/>
          <p:nvPr/>
        </p:nvSpPr>
        <p:spPr>
          <a:xfrm>
            <a:off x="352395" y="2363941"/>
            <a:ext cx="507266" cy="50855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5" y="14"/>
                </a:moveTo>
                <a:cubicBezTo>
                  <a:pt x="331" y="14"/>
                  <a:pt x="331" y="14"/>
                  <a:pt x="331" y="14"/>
                </a:cubicBezTo>
                <a:cubicBezTo>
                  <a:pt x="331" y="54"/>
                  <a:pt x="331" y="54"/>
                  <a:pt x="331" y="54"/>
                </a:cubicBezTo>
                <a:cubicBezTo>
                  <a:pt x="54" y="54"/>
                  <a:pt x="54" y="54"/>
                  <a:pt x="54" y="54"/>
                </a:cubicBezTo>
                <a:cubicBezTo>
                  <a:pt x="54" y="331"/>
                  <a:pt x="54" y="331"/>
                  <a:pt x="54" y="331"/>
                </a:cubicBezTo>
                <a:cubicBezTo>
                  <a:pt x="15" y="331"/>
                  <a:pt x="15" y="331"/>
                  <a:pt x="15" y="331"/>
                </a:cubicBezTo>
                <a:lnTo>
                  <a:pt x="15" y="14"/>
                </a:lnTo>
                <a:close/>
                <a:moveTo>
                  <a:pt x="108" y="331"/>
                </a:moveTo>
                <a:cubicBezTo>
                  <a:pt x="69" y="331"/>
                  <a:pt x="69" y="331"/>
                  <a:pt x="69" y="331"/>
                </a:cubicBezTo>
                <a:cubicBezTo>
                  <a:pt x="69" y="69"/>
                  <a:pt x="69" y="69"/>
                  <a:pt x="69" y="69"/>
                </a:cubicBezTo>
                <a:cubicBezTo>
                  <a:pt x="331" y="69"/>
                  <a:pt x="331" y="69"/>
                  <a:pt x="331" y="69"/>
                </a:cubicBezTo>
                <a:cubicBezTo>
                  <a:pt x="331" y="108"/>
                  <a:pt x="331" y="108"/>
                  <a:pt x="331" y="108"/>
                </a:cubicBezTo>
                <a:cubicBezTo>
                  <a:pt x="108" y="108"/>
                  <a:pt x="108" y="108"/>
                  <a:pt x="108" y="108"/>
                </a:cubicBezTo>
                <a:lnTo>
                  <a:pt x="108" y="331"/>
                </a:lnTo>
                <a:close/>
                <a:moveTo>
                  <a:pt x="123" y="331"/>
                </a:moveTo>
                <a:cubicBezTo>
                  <a:pt x="123" y="123"/>
                  <a:pt x="123" y="123"/>
                  <a:pt x="123" y="123"/>
                </a:cubicBezTo>
                <a:cubicBezTo>
                  <a:pt x="331" y="123"/>
                  <a:pt x="331" y="123"/>
                  <a:pt x="331" y="123"/>
                </a:cubicBezTo>
                <a:cubicBezTo>
                  <a:pt x="331" y="331"/>
                  <a:pt x="331" y="331"/>
                  <a:pt x="331" y="331"/>
                </a:cubicBezTo>
                <a:lnTo>
                  <a:pt x="123" y="331"/>
                </a:lnTo>
                <a:close/>
                <a:moveTo>
                  <a:pt x="262" y="190"/>
                </a:moveTo>
                <a:cubicBezTo>
                  <a:pt x="262" y="171"/>
                  <a:pt x="246" y="155"/>
                  <a:pt x="227" y="155"/>
                </a:cubicBezTo>
                <a:cubicBezTo>
                  <a:pt x="208" y="155"/>
                  <a:pt x="193" y="171"/>
                  <a:pt x="193" y="190"/>
                </a:cubicBezTo>
                <a:cubicBezTo>
                  <a:pt x="193" y="206"/>
                  <a:pt x="193" y="206"/>
                  <a:pt x="193" y="206"/>
                </a:cubicBezTo>
                <a:cubicBezTo>
                  <a:pt x="170" y="206"/>
                  <a:pt x="170" y="206"/>
                  <a:pt x="170" y="206"/>
                </a:cubicBezTo>
                <a:cubicBezTo>
                  <a:pt x="170" y="295"/>
                  <a:pt x="170" y="295"/>
                  <a:pt x="170" y="295"/>
                </a:cubicBezTo>
                <a:cubicBezTo>
                  <a:pt x="285" y="295"/>
                  <a:pt x="285" y="295"/>
                  <a:pt x="285" y="295"/>
                </a:cubicBezTo>
                <a:cubicBezTo>
                  <a:pt x="285" y="206"/>
                  <a:pt x="285" y="206"/>
                  <a:pt x="285" y="206"/>
                </a:cubicBezTo>
                <a:cubicBezTo>
                  <a:pt x="262" y="206"/>
                  <a:pt x="262" y="206"/>
                  <a:pt x="262" y="206"/>
                </a:cubicBezTo>
                <a:lnTo>
                  <a:pt x="262" y="190"/>
                </a:lnTo>
                <a:close/>
                <a:moveTo>
                  <a:pt x="207" y="190"/>
                </a:moveTo>
                <a:cubicBezTo>
                  <a:pt x="207" y="179"/>
                  <a:pt x="216" y="170"/>
                  <a:pt x="227" y="170"/>
                </a:cubicBezTo>
                <a:cubicBezTo>
                  <a:pt x="238" y="170"/>
                  <a:pt x="247" y="179"/>
                  <a:pt x="247" y="190"/>
                </a:cubicBezTo>
                <a:cubicBezTo>
                  <a:pt x="247" y="206"/>
                  <a:pt x="247" y="206"/>
                  <a:pt x="247" y="206"/>
                </a:cubicBezTo>
                <a:cubicBezTo>
                  <a:pt x="207" y="206"/>
                  <a:pt x="207" y="206"/>
                  <a:pt x="207" y="206"/>
                </a:cubicBezTo>
                <a:lnTo>
                  <a:pt x="207" y="190"/>
                </a:lnTo>
                <a:close/>
                <a:moveTo>
                  <a:pt x="270" y="280"/>
                </a:moveTo>
                <a:cubicBezTo>
                  <a:pt x="185" y="280"/>
                  <a:pt x="185" y="280"/>
                  <a:pt x="185" y="280"/>
                </a:cubicBezTo>
                <a:cubicBezTo>
                  <a:pt x="185" y="220"/>
                  <a:pt x="185" y="220"/>
                  <a:pt x="185" y="220"/>
                </a:cubicBezTo>
                <a:cubicBezTo>
                  <a:pt x="270" y="220"/>
                  <a:pt x="270" y="220"/>
                  <a:pt x="270" y="220"/>
                </a:cubicBezTo>
                <a:lnTo>
                  <a:pt x="270" y="280"/>
                </a:lnTo>
                <a:close/>
                <a:moveTo>
                  <a:pt x="235" y="261"/>
                </a:moveTo>
                <a:cubicBezTo>
                  <a:pt x="220" y="261"/>
                  <a:pt x="220" y="261"/>
                  <a:pt x="220" y="261"/>
                </a:cubicBezTo>
                <a:cubicBezTo>
                  <a:pt x="220" y="239"/>
                  <a:pt x="220" y="239"/>
                  <a:pt x="220" y="239"/>
                </a:cubicBezTo>
                <a:cubicBezTo>
                  <a:pt x="235" y="239"/>
                  <a:pt x="235" y="239"/>
                  <a:pt x="235" y="239"/>
                </a:cubicBezTo>
                <a:lnTo>
                  <a:pt x="235" y="26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endParaRPr sz="1050" kern="1200">
              <a:ea typeface="+mn-ea"/>
              <a:cs typeface="+mn-cs"/>
            </a:endParaRPr>
          </a:p>
        </p:txBody>
      </p:sp>
      <p:sp>
        <p:nvSpPr>
          <p:cNvPr id="920" name="Google Shape;920;p138"/>
          <p:cNvSpPr/>
          <p:nvPr/>
        </p:nvSpPr>
        <p:spPr>
          <a:xfrm>
            <a:off x="915040" y="2508625"/>
            <a:ext cx="3249389" cy="253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Immutability </a:t>
            </a:r>
            <a:r>
              <a:rPr lang="en-GB" sz="1200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of transactions</a:t>
            </a:r>
          </a:p>
        </p:txBody>
      </p:sp>
      <p:grpSp>
        <p:nvGrpSpPr>
          <p:cNvPr id="921" name="Google Shape;921;p138"/>
          <p:cNvGrpSpPr/>
          <p:nvPr/>
        </p:nvGrpSpPr>
        <p:grpSpPr>
          <a:xfrm>
            <a:off x="365633" y="2981776"/>
            <a:ext cx="516515" cy="508550"/>
            <a:chOff x="642828" y="4387929"/>
            <a:chExt cx="748831" cy="696560"/>
          </a:xfrm>
        </p:grpSpPr>
        <p:sp>
          <p:nvSpPr>
            <p:cNvPr id="922" name="Google Shape;922;p138"/>
            <p:cNvSpPr/>
            <p:nvPr/>
          </p:nvSpPr>
          <p:spPr>
            <a:xfrm>
              <a:off x="655161" y="4574946"/>
              <a:ext cx="736498" cy="408799"/>
            </a:xfrm>
            <a:custGeom>
              <a:avLst/>
              <a:gdLst/>
              <a:ahLst/>
              <a:cxnLst/>
              <a:rect l="l" t="t" r="r" b="b"/>
              <a:pathLst>
                <a:path w="404" h="218" extrusionOk="0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764118">
                <a:buClrTx/>
              </a:pPr>
              <a:endParaRPr sz="1050" kern="1200">
                <a:solidFill>
                  <a:srgbClr val="E0301E"/>
                </a:solidFill>
                <a:ea typeface="+mn-ea"/>
                <a:cs typeface="+mn-cs"/>
              </a:endParaRPr>
            </a:p>
          </p:txBody>
        </p:sp>
        <p:sp>
          <p:nvSpPr>
            <p:cNvPr id="923" name="Google Shape;923;p138"/>
            <p:cNvSpPr/>
            <p:nvPr/>
          </p:nvSpPr>
          <p:spPr>
            <a:xfrm>
              <a:off x="642828" y="4387929"/>
              <a:ext cx="736499" cy="696560"/>
            </a:xfrm>
            <a:prstGeom prst="rect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 defTabSz="764118">
                <a:buClrTx/>
              </a:pPr>
              <a:endParaRPr sz="1200" kern="120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</p:grpSp>
      <p:sp>
        <p:nvSpPr>
          <p:cNvPr id="924" name="Google Shape;924;p138"/>
          <p:cNvSpPr/>
          <p:nvPr/>
        </p:nvSpPr>
        <p:spPr>
          <a:xfrm>
            <a:off x="921982" y="3100360"/>
            <a:ext cx="3242445" cy="253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Consensus </a:t>
            </a:r>
            <a:r>
              <a:rPr lang="en-GB" sz="1200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across all parties on the network</a:t>
            </a:r>
            <a:endParaRPr sz="1200" kern="120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25" name="Google Shape;925;p138"/>
          <p:cNvSpPr/>
          <p:nvPr/>
        </p:nvSpPr>
        <p:spPr>
          <a:xfrm>
            <a:off x="372349" y="3581225"/>
            <a:ext cx="516713" cy="516713"/>
          </a:xfrm>
          <a:custGeom>
            <a:avLst/>
            <a:gdLst/>
            <a:ahLst/>
            <a:cxnLst/>
            <a:rect l="l" t="t" r="r" b="b"/>
            <a:pathLst>
              <a:path w="396" h="396" extrusionOk="0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endParaRPr sz="1050" kern="1200">
              <a:ea typeface="+mn-ea"/>
              <a:cs typeface="+mn-cs"/>
            </a:endParaRPr>
          </a:p>
        </p:txBody>
      </p:sp>
      <p:sp>
        <p:nvSpPr>
          <p:cNvPr id="926" name="Google Shape;926;p138"/>
          <p:cNvSpPr/>
          <p:nvPr/>
        </p:nvSpPr>
        <p:spPr>
          <a:xfrm>
            <a:off x="920959" y="3598231"/>
            <a:ext cx="3242445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Provenance and traceability </a:t>
            </a:r>
            <a:r>
              <a:rPr lang="en-GB" sz="1200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of all transactions</a:t>
            </a:r>
            <a:endParaRPr sz="1200" kern="1200">
              <a:solidFill>
                <a:srgbClr val="FFFFFF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927" name="Google Shape;927;p138"/>
          <p:cNvGrpSpPr/>
          <p:nvPr/>
        </p:nvGrpSpPr>
        <p:grpSpPr>
          <a:xfrm>
            <a:off x="381053" y="4196488"/>
            <a:ext cx="508009" cy="508550"/>
            <a:chOff x="692217" y="5902616"/>
            <a:chExt cx="677345" cy="678066"/>
          </a:xfrm>
        </p:grpSpPr>
        <p:grpSp>
          <p:nvGrpSpPr>
            <p:cNvPr id="928" name="Google Shape;928;p138"/>
            <p:cNvGrpSpPr/>
            <p:nvPr/>
          </p:nvGrpSpPr>
          <p:grpSpPr>
            <a:xfrm>
              <a:off x="742180" y="6003631"/>
              <a:ext cx="607973" cy="577051"/>
              <a:chOff x="5109739" y="5982612"/>
              <a:chExt cx="727160" cy="690318"/>
            </a:xfrm>
          </p:grpSpPr>
          <p:sp>
            <p:nvSpPr>
              <p:cNvPr id="929" name="Google Shape;929;p138"/>
              <p:cNvSpPr/>
              <p:nvPr/>
            </p:nvSpPr>
            <p:spPr>
              <a:xfrm>
                <a:off x="5109739" y="5982612"/>
                <a:ext cx="387545" cy="547036"/>
              </a:xfrm>
              <a:custGeom>
                <a:avLst/>
                <a:gdLst/>
                <a:ahLst/>
                <a:cxnLst/>
                <a:rect l="l" t="t" r="r" b="b"/>
                <a:pathLst>
                  <a:path w="930" h="1280" extrusionOk="0">
                    <a:moveTo>
                      <a:pt x="888" y="0"/>
                    </a:moveTo>
                    <a:cubicBezTo>
                      <a:pt x="580" y="0"/>
                      <a:pt x="580" y="0"/>
                      <a:pt x="580" y="0"/>
                    </a:cubicBezTo>
                    <a:cubicBezTo>
                      <a:pt x="523" y="0"/>
                      <a:pt x="523" y="0"/>
                      <a:pt x="52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19" y="0"/>
                      <a:pt x="0" y="20"/>
                      <a:pt x="0" y="44"/>
                    </a:cubicBezTo>
                    <a:cubicBezTo>
                      <a:pt x="0" y="996"/>
                      <a:pt x="0" y="996"/>
                      <a:pt x="0" y="996"/>
                    </a:cubicBezTo>
                    <a:cubicBezTo>
                      <a:pt x="0" y="1054"/>
                      <a:pt x="0" y="1054"/>
                      <a:pt x="0" y="1054"/>
                    </a:cubicBezTo>
                    <a:cubicBezTo>
                      <a:pt x="0" y="1237"/>
                      <a:pt x="0" y="1237"/>
                      <a:pt x="0" y="1237"/>
                    </a:cubicBezTo>
                    <a:cubicBezTo>
                      <a:pt x="0" y="1261"/>
                      <a:pt x="19" y="1280"/>
                      <a:pt x="43" y="1280"/>
                    </a:cubicBezTo>
                    <a:cubicBezTo>
                      <a:pt x="811" y="1280"/>
                      <a:pt x="811" y="1280"/>
                      <a:pt x="811" y="1280"/>
                    </a:cubicBezTo>
                    <a:cubicBezTo>
                      <a:pt x="930" y="1152"/>
                      <a:pt x="930" y="1152"/>
                      <a:pt x="930" y="1152"/>
                    </a:cubicBezTo>
                    <a:cubicBezTo>
                      <a:pt x="930" y="44"/>
                      <a:pt x="930" y="44"/>
                      <a:pt x="930" y="44"/>
                    </a:cubicBezTo>
                    <a:cubicBezTo>
                      <a:pt x="930" y="20"/>
                      <a:pt x="911" y="0"/>
                      <a:pt x="888" y="0"/>
                    </a:cubicBezTo>
                    <a:close/>
                    <a:moveTo>
                      <a:pt x="729" y="1041"/>
                    </a:moveTo>
                    <a:cubicBezTo>
                      <a:pt x="206" y="1041"/>
                      <a:pt x="206" y="1041"/>
                      <a:pt x="206" y="1041"/>
                    </a:cubicBezTo>
                    <a:cubicBezTo>
                      <a:pt x="206" y="1003"/>
                      <a:pt x="206" y="1003"/>
                      <a:pt x="206" y="1003"/>
                    </a:cubicBezTo>
                    <a:cubicBezTo>
                      <a:pt x="729" y="1003"/>
                      <a:pt x="729" y="1003"/>
                      <a:pt x="729" y="1003"/>
                    </a:cubicBezTo>
                    <a:lnTo>
                      <a:pt x="729" y="1041"/>
                    </a:lnTo>
                    <a:close/>
                    <a:moveTo>
                      <a:pt x="729" y="927"/>
                    </a:moveTo>
                    <a:cubicBezTo>
                      <a:pt x="206" y="927"/>
                      <a:pt x="206" y="927"/>
                      <a:pt x="206" y="927"/>
                    </a:cubicBezTo>
                    <a:cubicBezTo>
                      <a:pt x="206" y="889"/>
                      <a:pt x="206" y="889"/>
                      <a:pt x="206" y="889"/>
                    </a:cubicBezTo>
                    <a:cubicBezTo>
                      <a:pt x="729" y="889"/>
                      <a:pt x="729" y="889"/>
                      <a:pt x="729" y="889"/>
                    </a:cubicBezTo>
                    <a:lnTo>
                      <a:pt x="729" y="927"/>
                    </a:lnTo>
                    <a:close/>
                    <a:moveTo>
                      <a:pt x="729" y="813"/>
                    </a:moveTo>
                    <a:cubicBezTo>
                      <a:pt x="206" y="813"/>
                      <a:pt x="206" y="813"/>
                      <a:pt x="206" y="813"/>
                    </a:cubicBezTo>
                    <a:cubicBezTo>
                      <a:pt x="206" y="775"/>
                      <a:pt x="206" y="775"/>
                      <a:pt x="206" y="775"/>
                    </a:cubicBezTo>
                    <a:cubicBezTo>
                      <a:pt x="729" y="775"/>
                      <a:pt x="729" y="775"/>
                      <a:pt x="729" y="775"/>
                    </a:cubicBezTo>
                    <a:lnTo>
                      <a:pt x="729" y="813"/>
                    </a:lnTo>
                    <a:close/>
                    <a:moveTo>
                      <a:pt x="729" y="699"/>
                    </a:moveTo>
                    <a:cubicBezTo>
                      <a:pt x="206" y="699"/>
                      <a:pt x="206" y="699"/>
                      <a:pt x="206" y="699"/>
                    </a:cubicBezTo>
                    <a:cubicBezTo>
                      <a:pt x="206" y="661"/>
                      <a:pt x="206" y="661"/>
                      <a:pt x="206" y="661"/>
                    </a:cubicBezTo>
                    <a:cubicBezTo>
                      <a:pt x="729" y="661"/>
                      <a:pt x="729" y="661"/>
                      <a:pt x="729" y="661"/>
                    </a:cubicBezTo>
                    <a:lnTo>
                      <a:pt x="729" y="699"/>
                    </a:lnTo>
                    <a:close/>
                    <a:moveTo>
                      <a:pt x="729" y="585"/>
                    </a:moveTo>
                    <a:cubicBezTo>
                      <a:pt x="206" y="585"/>
                      <a:pt x="206" y="585"/>
                      <a:pt x="206" y="585"/>
                    </a:cubicBezTo>
                    <a:cubicBezTo>
                      <a:pt x="206" y="547"/>
                      <a:pt x="206" y="547"/>
                      <a:pt x="206" y="547"/>
                    </a:cubicBezTo>
                    <a:cubicBezTo>
                      <a:pt x="729" y="547"/>
                      <a:pt x="729" y="547"/>
                      <a:pt x="729" y="547"/>
                    </a:cubicBezTo>
                    <a:lnTo>
                      <a:pt x="729" y="585"/>
                    </a:lnTo>
                    <a:close/>
                    <a:moveTo>
                      <a:pt x="729" y="471"/>
                    </a:moveTo>
                    <a:cubicBezTo>
                      <a:pt x="206" y="471"/>
                      <a:pt x="206" y="471"/>
                      <a:pt x="206" y="471"/>
                    </a:cubicBezTo>
                    <a:cubicBezTo>
                      <a:pt x="206" y="433"/>
                      <a:pt x="206" y="433"/>
                      <a:pt x="206" y="433"/>
                    </a:cubicBezTo>
                    <a:cubicBezTo>
                      <a:pt x="729" y="433"/>
                      <a:pt x="729" y="433"/>
                      <a:pt x="729" y="433"/>
                    </a:cubicBezTo>
                    <a:lnTo>
                      <a:pt x="729" y="471"/>
                    </a:lnTo>
                    <a:close/>
                    <a:moveTo>
                      <a:pt x="729" y="357"/>
                    </a:moveTo>
                    <a:cubicBezTo>
                      <a:pt x="206" y="357"/>
                      <a:pt x="206" y="357"/>
                      <a:pt x="206" y="357"/>
                    </a:cubicBezTo>
                    <a:cubicBezTo>
                      <a:pt x="206" y="319"/>
                      <a:pt x="206" y="319"/>
                      <a:pt x="206" y="319"/>
                    </a:cubicBezTo>
                    <a:cubicBezTo>
                      <a:pt x="729" y="319"/>
                      <a:pt x="729" y="319"/>
                      <a:pt x="729" y="319"/>
                    </a:cubicBezTo>
                    <a:lnTo>
                      <a:pt x="729" y="357"/>
                    </a:lnTo>
                    <a:close/>
                    <a:moveTo>
                      <a:pt x="729" y="243"/>
                    </a:moveTo>
                    <a:cubicBezTo>
                      <a:pt x="206" y="243"/>
                      <a:pt x="206" y="243"/>
                      <a:pt x="206" y="243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729" y="205"/>
                      <a:pt x="729" y="205"/>
                      <a:pt x="729" y="205"/>
                    </a:cubicBezTo>
                    <a:lnTo>
                      <a:pt x="729" y="243"/>
                    </a:lnTo>
                    <a:close/>
                    <a:moveTo>
                      <a:pt x="788" y="1251"/>
                    </a:moveTo>
                    <a:cubicBezTo>
                      <a:pt x="788" y="1142"/>
                      <a:pt x="788" y="1142"/>
                      <a:pt x="788" y="1142"/>
                    </a:cubicBezTo>
                    <a:cubicBezTo>
                      <a:pt x="788" y="1132"/>
                      <a:pt x="795" y="1124"/>
                      <a:pt x="805" y="1124"/>
                    </a:cubicBezTo>
                    <a:cubicBezTo>
                      <a:pt x="908" y="1124"/>
                      <a:pt x="908" y="1124"/>
                      <a:pt x="908" y="1124"/>
                    </a:cubicBezTo>
                    <a:lnTo>
                      <a:pt x="788" y="125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defTabSz="764118">
                  <a:buClrTx/>
                </a:pPr>
                <a:endParaRPr sz="1050" kern="1200">
                  <a:solidFill>
                    <a:srgbClr val="E0301E"/>
                  </a:solidFill>
                  <a:ea typeface="+mn-ea"/>
                  <a:cs typeface="+mn-cs"/>
                </a:endParaRPr>
              </a:p>
            </p:txBody>
          </p:sp>
          <p:sp>
            <p:nvSpPr>
              <p:cNvPr id="930" name="Google Shape;930;p138"/>
              <p:cNvSpPr/>
              <p:nvPr/>
            </p:nvSpPr>
            <p:spPr>
              <a:xfrm>
                <a:off x="5390219" y="6211042"/>
                <a:ext cx="446680" cy="461888"/>
              </a:xfrm>
              <a:custGeom>
                <a:avLst/>
                <a:gdLst/>
                <a:ahLst/>
                <a:cxnLst/>
                <a:rect l="l" t="t" r="r" b="b"/>
                <a:pathLst>
                  <a:path w="1140" h="1162" extrusionOk="0">
                    <a:moveTo>
                      <a:pt x="1140" y="731"/>
                    </a:moveTo>
                    <a:cubicBezTo>
                      <a:pt x="1140" y="431"/>
                      <a:pt x="1140" y="431"/>
                      <a:pt x="1140" y="431"/>
                    </a:cubicBezTo>
                    <a:cubicBezTo>
                      <a:pt x="1026" y="431"/>
                      <a:pt x="1026" y="431"/>
                      <a:pt x="1026" y="431"/>
                    </a:cubicBezTo>
                    <a:cubicBezTo>
                      <a:pt x="1018" y="406"/>
                      <a:pt x="1008" y="382"/>
                      <a:pt x="996" y="358"/>
                    </a:cubicBezTo>
                    <a:cubicBezTo>
                      <a:pt x="1077" y="276"/>
                      <a:pt x="1077" y="276"/>
                      <a:pt x="1077" y="276"/>
                    </a:cubicBezTo>
                    <a:cubicBezTo>
                      <a:pt x="869" y="64"/>
                      <a:pt x="869" y="64"/>
                      <a:pt x="869" y="64"/>
                    </a:cubicBezTo>
                    <a:cubicBezTo>
                      <a:pt x="788" y="147"/>
                      <a:pt x="788" y="147"/>
                      <a:pt x="788" y="147"/>
                    </a:cubicBezTo>
                    <a:cubicBezTo>
                      <a:pt x="766" y="135"/>
                      <a:pt x="742" y="124"/>
                      <a:pt x="717" y="116"/>
                    </a:cubicBezTo>
                    <a:cubicBezTo>
                      <a:pt x="717" y="0"/>
                      <a:pt x="717" y="0"/>
                      <a:pt x="717" y="0"/>
                    </a:cubicBezTo>
                    <a:cubicBezTo>
                      <a:pt x="423" y="0"/>
                      <a:pt x="423" y="0"/>
                      <a:pt x="423" y="0"/>
                    </a:cubicBezTo>
                    <a:cubicBezTo>
                      <a:pt x="423" y="116"/>
                      <a:pt x="423" y="116"/>
                      <a:pt x="423" y="116"/>
                    </a:cubicBezTo>
                    <a:cubicBezTo>
                      <a:pt x="398" y="124"/>
                      <a:pt x="374" y="135"/>
                      <a:pt x="351" y="147"/>
                    </a:cubicBezTo>
                    <a:cubicBezTo>
                      <a:pt x="271" y="64"/>
                      <a:pt x="271" y="64"/>
                      <a:pt x="271" y="64"/>
                    </a:cubicBezTo>
                    <a:cubicBezTo>
                      <a:pt x="63" y="276"/>
                      <a:pt x="63" y="276"/>
                      <a:pt x="63" y="276"/>
                    </a:cubicBezTo>
                    <a:cubicBezTo>
                      <a:pt x="144" y="358"/>
                      <a:pt x="144" y="358"/>
                      <a:pt x="144" y="358"/>
                    </a:cubicBezTo>
                    <a:cubicBezTo>
                      <a:pt x="132" y="382"/>
                      <a:pt x="122" y="406"/>
                      <a:pt x="114" y="431"/>
                    </a:cubicBezTo>
                    <a:cubicBezTo>
                      <a:pt x="0" y="431"/>
                      <a:pt x="0" y="431"/>
                      <a:pt x="0" y="431"/>
                    </a:cubicBezTo>
                    <a:cubicBezTo>
                      <a:pt x="0" y="731"/>
                      <a:pt x="0" y="731"/>
                      <a:pt x="0" y="731"/>
                    </a:cubicBezTo>
                    <a:cubicBezTo>
                      <a:pt x="114" y="731"/>
                      <a:pt x="114" y="731"/>
                      <a:pt x="114" y="731"/>
                    </a:cubicBezTo>
                    <a:cubicBezTo>
                      <a:pt x="122" y="756"/>
                      <a:pt x="132" y="781"/>
                      <a:pt x="144" y="804"/>
                    </a:cubicBezTo>
                    <a:cubicBezTo>
                      <a:pt x="63" y="886"/>
                      <a:pt x="63" y="886"/>
                      <a:pt x="63" y="886"/>
                    </a:cubicBezTo>
                    <a:cubicBezTo>
                      <a:pt x="271" y="1098"/>
                      <a:pt x="271" y="1098"/>
                      <a:pt x="271" y="1098"/>
                    </a:cubicBezTo>
                    <a:cubicBezTo>
                      <a:pt x="351" y="1016"/>
                      <a:pt x="351" y="1016"/>
                      <a:pt x="351" y="1016"/>
                    </a:cubicBezTo>
                    <a:cubicBezTo>
                      <a:pt x="374" y="1028"/>
                      <a:pt x="398" y="1038"/>
                      <a:pt x="423" y="1046"/>
                    </a:cubicBezTo>
                    <a:cubicBezTo>
                      <a:pt x="423" y="1162"/>
                      <a:pt x="423" y="1162"/>
                      <a:pt x="423" y="1162"/>
                    </a:cubicBezTo>
                    <a:cubicBezTo>
                      <a:pt x="717" y="1162"/>
                      <a:pt x="717" y="1162"/>
                      <a:pt x="717" y="1162"/>
                    </a:cubicBezTo>
                    <a:cubicBezTo>
                      <a:pt x="717" y="1046"/>
                      <a:pt x="717" y="1046"/>
                      <a:pt x="717" y="1046"/>
                    </a:cubicBezTo>
                    <a:cubicBezTo>
                      <a:pt x="742" y="1038"/>
                      <a:pt x="766" y="1028"/>
                      <a:pt x="788" y="1016"/>
                    </a:cubicBezTo>
                    <a:cubicBezTo>
                      <a:pt x="869" y="1098"/>
                      <a:pt x="869" y="1098"/>
                      <a:pt x="869" y="1098"/>
                    </a:cubicBezTo>
                    <a:cubicBezTo>
                      <a:pt x="1077" y="886"/>
                      <a:pt x="1077" y="886"/>
                      <a:pt x="1077" y="886"/>
                    </a:cubicBezTo>
                    <a:cubicBezTo>
                      <a:pt x="996" y="804"/>
                      <a:pt x="996" y="804"/>
                      <a:pt x="996" y="804"/>
                    </a:cubicBezTo>
                    <a:cubicBezTo>
                      <a:pt x="1008" y="781"/>
                      <a:pt x="1018" y="756"/>
                      <a:pt x="1026" y="731"/>
                    </a:cubicBezTo>
                    <a:lnTo>
                      <a:pt x="1140" y="731"/>
                    </a:lnTo>
                    <a:close/>
                    <a:moveTo>
                      <a:pt x="570" y="925"/>
                    </a:moveTo>
                    <a:cubicBezTo>
                      <a:pt x="384" y="925"/>
                      <a:pt x="233" y="771"/>
                      <a:pt x="233" y="581"/>
                    </a:cubicBezTo>
                    <a:cubicBezTo>
                      <a:pt x="233" y="391"/>
                      <a:pt x="384" y="237"/>
                      <a:pt x="570" y="237"/>
                    </a:cubicBezTo>
                    <a:cubicBezTo>
                      <a:pt x="756" y="237"/>
                      <a:pt x="907" y="391"/>
                      <a:pt x="907" y="581"/>
                    </a:cubicBezTo>
                    <a:cubicBezTo>
                      <a:pt x="907" y="771"/>
                      <a:pt x="756" y="925"/>
                      <a:pt x="570" y="925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defTabSz="764118">
                  <a:buClrTx/>
                </a:pPr>
                <a:endParaRPr sz="1050" kern="1200">
                  <a:solidFill>
                    <a:srgbClr val="E0301E"/>
                  </a:solidFill>
                  <a:ea typeface="+mn-ea"/>
                  <a:cs typeface="+mn-cs"/>
                </a:endParaRPr>
              </a:p>
            </p:txBody>
          </p:sp>
        </p:grpSp>
        <p:sp>
          <p:nvSpPr>
            <p:cNvPr id="931" name="Google Shape;931;p138"/>
            <p:cNvSpPr/>
            <p:nvPr/>
          </p:nvSpPr>
          <p:spPr>
            <a:xfrm>
              <a:off x="692217" y="5902616"/>
              <a:ext cx="677345" cy="678066"/>
            </a:xfrm>
            <a:prstGeom prst="rect">
              <a:avLst/>
            </a:prstGeom>
            <a:noFill/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 defTabSz="764118">
                <a:buClrTx/>
              </a:pPr>
              <a:endParaRPr sz="1200" kern="120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</p:grpSp>
      <p:sp>
        <p:nvSpPr>
          <p:cNvPr id="932" name="Google Shape;932;p138"/>
          <p:cNvSpPr/>
          <p:nvPr/>
        </p:nvSpPr>
        <p:spPr>
          <a:xfrm>
            <a:off x="905009" y="4254778"/>
            <a:ext cx="3258394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Smart Contracts </a:t>
            </a:r>
            <a:r>
              <a:rPr lang="en-GB" sz="1200" kern="1200">
                <a:solidFill>
                  <a:srgbClr val="FFFFFF"/>
                </a:solidFill>
                <a:latin typeface="+mj-lt"/>
                <a:ea typeface="+mn-ea"/>
                <a:cs typeface="+mn-cs"/>
              </a:rPr>
              <a:t>for automation of business logic</a:t>
            </a:r>
            <a:endParaRPr sz="1050" kern="1200">
              <a:latin typeface="+mj-lt"/>
              <a:ea typeface="+mn-ea"/>
              <a:cs typeface="+mn-cs"/>
            </a:endParaRPr>
          </a:p>
        </p:txBody>
      </p:sp>
      <p:sp>
        <p:nvSpPr>
          <p:cNvPr id="933" name="Google Shape;933;p138"/>
          <p:cNvSpPr/>
          <p:nvPr/>
        </p:nvSpPr>
        <p:spPr>
          <a:xfrm>
            <a:off x="4580372" y="2978742"/>
            <a:ext cx="4206946" cy="623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 dirty="0">
                <a:latin typeface="+mj-lt"/>
                <a:ea typeface="+mn-ea"/>
                <a:cs typeface="+mn-cs"/>
              </a:rPr>
              <a:t>Agreement of stakeholders 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on all transaction</a:t>
            </a:r>
            <a:r>
              <a:rPr lang="en-GB" sz="1200" b="1" kern="1200" dirty="0">
                <a:latin typeface="+mj-lt"/>
                <a:ea typeface="+mn-ea"/>
                <a:cs typeface="+mn-cs"/>
              </a:rPr>
              <a:t> 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ensuring</a:t>
            </a:r>
            <a:r>
              <a:rPr lang="en-GB" sz="1200" b="1" kern="1200" dirty="0">
                <a:latin typeface="+mj-lt"/>
                <a:ea typeface="+mn-ea"/>
                <a:cs typeface="+mn-cs"/>
              </a:rPr>
              <a:t> transparency and consistency 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of information across the network</a:t>
            </a:r>
            <a:endParaRPr sz="1050" kern="1200" dirty="0">
              <a:latin typeface="+mj-lt"/>
              <a:ea typeface="+mn-ea"/>
              <a:cs typeface="+mn-cs"/>
            </a:endParaRPr>
          </a:p>
        </p:txBody>
      </p:sp>
      <p:sp>
        <p:nvSpPr>
          <p:cNvPr id="934" name="Google Shape;934;p138"/>
          <p:cNvSpPr/>
          <p:nvPr/>
        </p:nvSpPr>
        <p:spPr>
          <a:xfrm rot="5400000">
            <a:off x="4094075" y="2618569"/>
            <a:ext cx="522167" cy="104647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35" name="Google Shape;935;p138"/>
          <p:cNvSpPr/>
          <p:nvPr/>
        </p:nvSpPr>
        <p:spPr>
          <a:xfrm rot="5400000">
            <a:off x="4083135" y="3238045"/>
            <a:ext cx="522167" cy="104647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36" name="Google Shape;936;p138"/>
          <p:cNvSpPr/>
          <p:nvPr/>
        </p:nvSpPr>
        <p:spPr>
          <a:xfrm rot="5400000">
            <a:off x="4068355" y="3847183"/>
            <a:ext cx="522167" cy="104647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37" name="Google Shape;937;p138"/>
          <p:cNvSpPr/>
          <p:nvPr/>
        </p:nvSpPr>
        <p:spPr>
          <a:xfrm rot="5400000">
            <a:off x="4068355" y="4479916"/>
            <a:ext cx="522167" cy="104647"/>
          </a:xfrm>
          <a:prstGeom prst="triangle">
            <a:avLst>
              <a:gd name="adj" fmla="val 5000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 defTabSz="764118">
              <a:buClrTx/>
            </a:pPr>
            <a:endParaRPr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38" name="Google Shape;938;p138"/>
          <p:cNvSpPr/>
          <p:nvPr/>
        </p:nvSpPr>
        <p:spPr>
          <a:xfrm>
            <a:off x="4580373" y="1733490"/>
            <a:ext cx="4202537" cy="623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 dirty="0">
                <a:latin typeface="+mj-lt"/>
                <a:ea typeface="+mn-ea"/>
                <a:cs typeface="+mn-cs"/>
              </a:rPr>
              <a:t>Availability of up-to-date authentic data 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to all stakeholders in </a:t>
            </a:r>
            <a:r>
              <a:rPr lang="en-GB" sz="1200" b="1" kern="1200" dirty="0">
                <a:latin typeface="+mj-lt"/>
                <a:ea typeface="+mn-ea"/>
                <a:cs typeface="+mn-cs"/>
              </a:rPr>
              <a:t>real-time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; Elimination of a </a:t>
            </a:r>
            <a:r>
              <a:rPr lang="en-GB" sz="1200" b="1" kern="1200" dirty="0">
                <a:latin typeface="+mj-lt"/>
                <a:ea typeface="+mn-ea"/>
                <a:cs typeface="+mn-cs"/>
              </a:rPr>
              <a:t>single point of failure</a:t>
            </a:r>
            <a:endParaRPr sz="1200" b="1" kern="1200" dirty="0">
              <a:latin typeface="+mj-lt"/>
              <a:ea typeface="+mn-ea"/>
              <a:cs typeface="+mn-cs"/>
            </a:endParaRPr>
          </a:p>
        </p:txBody>
      </p:sp>
      <p:sp>
        <p:nvSpPr>
          <p:cNvPr id="939" name="Google Shape;939;p138"/>
          <p:cNvSpPr/>
          <p:nvPr/>
        </p:nvSpPr>
        <p:spPr>
          <a:xfrm>
            <a:off x="4580371" y="2451596"/>
            <a:ext cx="4238108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kern="1200">
                <a:latin typeface="+mj-lt"/>
                <a:ea typeface="+mn-ea"/>
                <a:cs typeface="+mn-cs"/>
              </a:rPr>
              <a:t>Records once added onto the shared ledger cannot be tampered ensuring </a:t>
            </a:r>
            <a:r>
              <a:rPr lang="en-GB" sz="1200" b="1" kern="1200">
                <a:latin typeface="+mj-lt"/>
                <a:ea typeface="+mn-ea"/>
                <a:cs typeface="+mn-cs"/>
              </a:rPr>
              <a:t>data integrity</a:t>
            </a:r>
            <a:endParaRPr sz="1050" kern="1200">
              <a:latin typeface="+mj-lt"/>
              <a:ea typeface="+mn-ea"/>
              <a:cs typeface="+mn-cs"/>
            </a:endParaRPr>
          </a:p>
        </p:txBody>
      </p:sp>
      <p:sp>
        <p:nvSpPr>
          <p:cNvPr id="940" name="Google Shape;940;p138"/>
          <p:cNvSpPr/>
          <p:nvPr/>
        </p:nvSpPr>
        <p:spPr>
          <a:xfrm>
            <a:off x="4580372" y="3730615"/>
            <a:ext cx="4206946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kern="1200">
                <a:latin typeface="+mj-lt"/>
                <a:ea typeface="+mn-ea"/>
                <a:cs typeface="+mn-cs"/>
              </a:rPr>
              <a:t>Availability of </a:t>
            </a:r>
            <a:r>
              <a:rPr lang="en-GB" sz="1200" b="1" kern="1200">
                <a:latin typeface="+mj-lt"/>
                <a:ea typeface="+mn-ea"/>
                <a:cs typeface="+mn-cs"/>
              </a:rPr>
              <a:t>complete history of asset ownership </a:t>
            </a:r>
            <a:r>
              <a:rPr lang="en-GB" sz="1200" kern="1200">
                <a:latin typeface="+mj-lt"/>
                <a:ea typeface="+mn-ea"/>
                <a:cs typeface="+mn-cs"/>
              </a:rPr>
              <a:t>from creation to disposal; Automatic creation of </a:t>
            </a:r>
            <a:r>
              <a:rPr lang="en-GB" sz="1200" b="1" kern="1200">
                <a:latin typeface="+mj-lt"/>
                <a:ea typeface="+mn-ea"/>
                <a:cs typeface="+mn-cs"/>
              </a:rPr>
              <a:t>audit trail</a:t>
            </a:r>
            <a:endParaRPr sz="1050" kern="1200">
              <a:latin typeface="+mj-lt"/>
              <a:ea typeface="+mn-ea"/>
              <a:cs typeface="+mn-cs"/>
            </a:endParaRPr>
          </a:p>
        </p:txBody>
      </p:sp>
      <p:sp>
        <p:nvSpPr>
          <p:cNvPr id="941" name="Google Shape;941;p138"/>
          <p:cNvSpPr/>
          <p:nvPr/>
        </p:nvSpPr>
        <p:spPr>
          <a:xfrm>
            <a:off x="4580370" y="4323508"/>
            <a:ext cx="4186920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defTabSz="764118">
              <a:buClrTx/>
            </a:pPr>
            <a:r>
              <a:rPr lang="en-GB" sz="1200" b="1" kern="1200" dirty="0">
                <a:latin typeface="+mj-lt"/>
                <a:ea typeface="+mn-ea"/>
                <a:cs typeface="+mn-cs"/>
              </a:rPr>
              <a:t>Trusted automation since </a:t>
            </a:r>
            <a:r>
              <a:rPr lang="en-GB" sz="1200" kern="1200" dirty="0">
                <a:latin typeface="+mj-lt"/>
                <a:ea typeface="+mn-ea"/>
                <a:cs typeface="+mn-cs"/>
              </a:rPr>
              <a:t>data is more trusted and resilient</a:t>
            </a:r>
            <a:endParaRPr sz="1050" kern="1200" dirty="0">
              <a:latin typeface="+mj-lt"/>
              <a:ea typeface="+mn-ea"/>
              <a:cs typeface="+mn-cs"/>
            </a:endParaRPr>
          </a:p>
        </p:txBody>
      </p:sp>
      <p:sp>
        <p:nvSpPr>
          <p:cNvPr id="942" name="Google Shape;942;p138"/>
          <p:cNvSpPr/>
          <p:nvPr/>
        </p:nvSpPr>
        <p:spPr>
          <a:xfrm>
            <a:off x="296614" y="806861"/>
            <a:ext cx="8745872" cy="495286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defTabSz="764118">
              <a:buClrTx/>
            </a:pPr>
            <a:r>
              <a:rPr lang="en-GB" sz="1200" kern="1200" dirty="0">
                <a:latin typeface="Georgia"/>
                <a:ea typeface="+mn-ea"/>
                <a:cs typeface="+mn-cs"/>
              </a:rPr>
              <a:t>A blockchain is a </a:t>
            </a:r>
            <a:r>
              <a:rPr lang="en-GB" sz="1200" b="1" kern="1200" dirty="0">
                <a:latin typeface="Georgia"/>
                <a:ea typeface="+mn-ea"/>
                <a:cs typeface="+mn-cs"/>
              </a:rPr>
              <a:t>decentralized shared ledger </a:t>
            </a:r>
            <a:r>
              <a:rPr lang="en-GB" sz="1200" kern="1200" dirty="0">
                <a:latin typeface="Georgia"/>
                <a:ea typeface="+mn-ea"/>
                <a:cs typeface="+mn-cs"/>
              </a:rPr>
              <a:t>of all transactions in a network which remains </a:t>
            </a:r>
            <a:r>
              <a:rPr lang="en-GB" sz="1200" b="1" kern="1200" dirty="0">
                <a:latin typeface="Georgia"/>
                <a:ea typeface="+mn-ea"/>
                <a:cs typeface="+mn-cs"/>
              </a:rPr>
              <a:t>append-only</a:t>
            </a:r>
            <a:r>
              <a:rPr lang="en-GB" sz="1200" kern="1200" dirty="0">
                <a:latin typeface="Georgia"/>
                <a:ea typeface="+mn-ea"/>
                <a:cs typeface="+mn-cs"/>
              </a:rPr>
              <a:t> and is </a:t>
            </a:r>
            <a:r>
              <a:rPr lang="en-GB" sz="1200" b="1" kern="1200" dirty="0">
                <a:latin typeface="Georgia"/>
                <a:ea typeface="+mn-ea"/>
                <a:cs typeface="+mn-cs"/>
              </a:rPr>
              <a:t>tamper proof</a:t>
            </a:r>
            <a:endParaRPr sz="1200" kern="1200" dirty="0">
              <a:latin typeface="Georgia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3B89DC-9110-4601-8B73-5CBB6F153B3C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7488222" y="4869180"/>
            <a:ext cx="1323594" cy="102870"/>
          </a:xfrm>
        </p:spPr>
        <p:txBody>
          <a:bodyPr/>
          <a:lstStyle/>
          <a:p>
            <a:pPr defTabSz="764118">
              <a:buClrTx/>
            </a:pPr>
            <a:fld id="{00000000-1234-1234-1234-123412341234}" type="slidenum">
              <a:rPr lang="en-GB" kern="1200">
                <a:solidFill>
                  <a:srgbClr val="000000">
                    <a:tint val="75000"/>
                  </a:srgbClr>
                </a:solidFill>
                <a:ea typeface="+mn-ea"/>
              </a:rPr>
              <a:pPr defTabSz="764118">
                <a:buClrTx/>
              </a:pPr>
              <a:t>2</a:t>
            </a:fld>
            <a:endParaRPr lang="en-GB" kern="1200">
              <a:solidFill>
                <a:srgbClr val="000000">
                  <a:tint val="75000"/>
                </a:srgbClr>
              </a:solidFill>
              <a:ea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" name="Google Shape;948;p139"/>
          <p:cNvSpPr txBox="1">
            <a:spLocks noGrp="1"/>
          </p:cNvSpPr>
          <p:nvPr>
            <p:ph type="title"/>
          </p:nvPr>
        </p:nvSpPr>
        <p:spPr>
          <a:xfrm>
            <a:off x="332184" y="226852"/>
            <a:ext cx="8479631" cy="24485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r>
              <a:rPr lang="en-GB" sz="2200" b="0" dirty="0">
                <a:latin typeface="Georgia" panose="02040502050405020303" pitchFamily="18" charset="0"/>
              </a:rPr>
              <a:t>A snapshot of how Blockchain works…</a:t>
            </a:r>
            <a:endParaRPr sz="2200" b="0" dirty="0">
              <a:latin typeface="Georgia" panose="02040502050405020303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D45554-E251-4818-B678-FACD5A1AF40F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7488222" y="4869180"/>
            <a:ext cx="1323594" cy="102870"/>
          </a:xfrm>
        </p:spPr>
        <p:txBody>
          <a:bodyPr/>
          <a:lstStyle/>
          <a:p>
            <a:pPr defTabSz="764118">
              <a:buClrTx/>
            </a:pPr>
            <a:fld id="{00000000-1234-1234-1234-123412341234}" type="slidenum">
              <a:rPr lang="en-GB" kern="1200">
                <a:solidFill>
                  <a:srgbClr val="000000">
                    <a:tint val="75000"/>
                  </a:srgbClr>
                </a:solidFill>
                <a:ea typeface="+mn-ea"/>
              </a:rPr>
              <a:pPr defTabSz="764118">
                <a:buClrTx/>
              </a:pPr>
              <a:t>3</a:t>
            </a:fld>
            <a:endParaRPr lang="en-GB" kern="1200">
              <a:solidFill>
                <a:srgbClr val="000000">
                  <a:tint val="75000"/>
                </a:srgbClr>
              </a:solidFill>
              <a:ea typeface="+mn-e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1117A5-D25E-4DBC-A47B-09ED3098711A}"/>
              </a:ext>
            </a:extLst>
          </p:cNvPr>
          <p:cNvSpPr txBox="1"/>
          <p:nvPr/>
        </p:nvSpPr>
        <p:spPr>
          <a:xfrm>
            <a:off x="332185" y="832085"/>
            <a:ext cx="859292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64118">
              <a:buClrTx/>
            </a:pPr>
            <a:r>
              <a:rPr lang="en-GB" sz="1200" b="1" i="1" kern="1200" dirty="0">
                <a:latin typeface="Georgia" pitchFamily="18" charset="0"/>
                <a:ea typeface="+mn-ea"/>
                <a:cs typeface="Arial" pitchFamily="34" charset="0"/>
              </a:rPr>
              <a:t>Blockchain is a single, shared, immutable write-only ledger of transactions that is updated when multiple, decentralized actors achieve consensus on the validity of participant’s new entries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9544B1-2EAE-499A-9B0A-417B0B322796}"/>
              </a:ext>
            </a:extLst>
          </p:cNvPr>
          <p:cNvSpPr txBox="1">
            <a:spLocks/>
          </p:cNvSpPr>
          <p:nvPr/>
        </p:nvSpPr>
        <p:spPr>
          <a:xfrm>
            <a:off x="491413" y="3961193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buClrTx/>
              <a:defRPr/>
            </a:pPr>
            <a:r>
              <a:rPr lang="en-US" sz="750">
                <a:solidFill>
                  <a:srgbClr val="000000"/>
                </a:solidFill>
              </a:rPr>
              <a:t>Blockchain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20E3D72B-7970-4939-A319-A5E9F8B165F0}"/>
              </a:ext>
            </a:extLst>
          </p:cNvPr>
          <p:cNvSpPr txBox="1">
            <a:spLocks/>
          </p:cNvSpPr>
          <p:nvPr/>
        </p:nvSpPr>
        <p:spPr>
          <a:xfrm>
            <a:off x="6870603" y="3961193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buClrTx/>
              <a:defRPr/>
            </a:pPr>
            <a:r>
              <a:rPr lang="en-US" sz="750">
                <a:solidFill>
                  <a:srgbClr val="000000"/>
                </a:solidFill>
              </a:rPr>
              <a:t>September 2018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89A7A79D-8DD4-4BE5-84E1-17888515E665}"/>
              </a:ext>
            </a:extLst>
          </p:cNvPr>
          <p:cNvSpPr txBox="1">
            <a:spLocks/>
          </p:cNvSpPr>
          <p:nvPr/>
        </p:nvSpPr>
        <p:spPr>
          <a:xfrm>
            <a:off x="6870602" y="4075493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buClrTx/>
              <a:defRPr/>
            </a:pPr>
            <a:fld id="{9EBD5762-3BDC-484D-9503-7EA6D5A9A8CE}" type="slidenum">
              <a:rPr lang="en-US" sz="750">
                <a:solidFill>
                  <a:srgbClr val="000000"/>
                </a:solidFill>
              </a:rPr>
              <a:pPr defTabSz="685783">
                <a:buClrTx/>
                <a:defRPr/>
              </a:pPr>
              <a:t>3</a:t>
            </a:fld>
            <a:endParaRPr lang="en-US" sz="750">
              <a:solidFill>
                <a:srgbClr val="000000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985000-34CE-4C52-BE68-9A9989BA544E}"/>
              </a:ext>
            </a:extLst>
          </p:cNvPr>
          <p:cNvCxnSpPr/>
          <p:nvPr/>
        </p:nvCxnSpPr>
        <p:spPr>
          <a:xfrm>
            <a:off x="4039685" y="3775950"/>
            <a:ext cx="960120" cy="0"/>
          </a:xfrm>
          <a:prstGeom prst="line">
            <a:avLst/>
          </a:prstGeom>
          <a:noFill/>
          <a:ln w="2857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" name="Elbow Connector 196">
            <a:extLst>
              <a:ext uri="{FF2B5EF4-FFF2-40B4-BE49-F238E27FC236}">
                <a16:creationId xmlns:a16="http://schemas.microsoft.com/office/drawing/2014/main" id="{12B50436-14D5-4559-8528-6C0D955743F9}"/>
              </a:ext>
            </a:extLst>
          </p:cNvPr>
          <p:cNvCxnSpPr/>
          <p:nvPr/>
        </p:nvCxnSpPr>
        <p:spPr>
          <a:xfrm flipV="1">
            <a:off x="3885167" y="3332521"/>
            <a:ext cx="1028700" cy="91679"/>
          </a:xfrm>
          <a:prstGeom prst="bentConnector3">
            <a:avLst/>
          </a:prstGeom>
          <a:noFill/>
          <a:ln w="2857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9364AA6-97A6-4D72-9276-7D0B27A85DB8}"/>
              </a:ext>
            </a:extLst>
          </p:cNvPr>
          <p:cNvCxnSpPr/>
          <p:nvPr/>
        </p:nvCxnSpPr>
        <p:spPr>
          <a:xfrm>
            <a:off x="6462302" y="1573919"/>
            <a:ext cx="2462806" cy="0"/>
          </a:xfrm>
          <a:prstGeom prst="straightConnector1">
            <a:avLst/>
          </a:prstGeom>
          <a:noFill/>
          <a:ln w="12700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6A6D22-EDB7-4D3E-BBBA-F29980EB0A25}"/>
              </a:ext>
            </a:extLst>
          </p:cNvPr>
          <p:cNvGrpSpPr/>
          <p:nvPr/>
        </p:nvGrpSpPr>
        <p:grpSpPr>
          <a:xfrm>
            <a:off x="1942031" y="1316599"/>
            <a:ext cx="431733" cy="977192"/>
            <a:chOff x="411164" y="1928813"/>
            <a:chExt cx="650875" cy="1473200"/>
          </a:xfrm>
        </p:grpSpPr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C9F74423-8BD7-4E3B-B164-FC9B2E742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4" y="1928813"/>
              <a:ext cx="650875" cy="1473200"/>
            </a:xfrm>
            <a:custGeom>
              <a:avLst/>
              <a:gdLst>
                <a:gd name="T0" fmla="*/ 360 w 410"/>
                <a:gd name="T1" fmla="*/ 506 h 928"/>
                <a:gd name="T2" fmla="*/ 371 w 410"/>
                <a:gd name="T3" fmla="*/ 649 h 928"/>
                <a:gd name="T4" fmla="*/ 391 w 410"/>
                <a:gd name="T5" fmla="*/ 794 h 928"/>
                <a:gd name="T6" fmla="*/ 391 w 410"/>
                <a:gd name="T7" fmla="*/ 876 h 928"/>
                <a:gd name="T8" fmla="*/ 393 w 410"/>
                <a:gd name="T9" fmla="*/ 916 h 928"/>
                <a:gd name="T10" fmla="*/ 349 w 410"/>
                <a:gd name="T11" fmla="*/ 928 h 928"/>
                <a:gd name="T12" fmla="*/ 337 w 410"/>
                <a:gd name="T13" fmla="*/ 882 h 928"/>
                <a:gd name="T14" fmla="*/ 325 w 410"/>
                <a:gd name="T15" fmla="*/ 857 h 928"/>
                <a:gd name="T16" fmla="*/ 328 w 410"/>
                <a:gd name="T17" fmla="*/ 840 h 928"/>
                <a:gd name="T18" fmla="*/ 320 w 410"/>
                <a:gd name="T19" fmla="*/ 749 h 928"/>
                <a:gd name="T20" fmla="*/ 292 w 410"/>
                <a:gd name="T21" fmla="*/ 625 h 928"/>
                <a:gd name="T22" fmla="*/ 285 w 410"/>
                <a:gd name="T23" fmla="*/ 651 h 928"/>
                <a:gd name="T24" fmla="*/ 285 w 410"/>
                <a:gd name="T25" fmla="*/ 748 h 928"/>
                <a:gd name="T26" fmla="*/ 291 w 410"/>
                <a:gd name="T27" fmla="*/ 831 h 928"/>
                <a:gd name="T28" fmla="*/ 285 w 410"/>
                <a:gd name="T29" fmla="*/ 862 h 928"/>
                <a:gd name="T30" fmla="*/ 246 w 410"/>
                <a:gd name="T31" fmla="*/ 890 h 928"/>
                <a:gd name="T32" fmla="*/ 209 w 410"/>
                <a:gd name="T33" fmla="*/ 907 h 928"/>
                <a:gd name="T34" fmla="*/ 171 w 410"/>
                <a:gd name="T35" fmla="*/ 896 h 928"/>
                <a:gd name="T36" fmla="*/ 222 w 410"/>
                <a:gd name="T37" fmla="*/ 853 h 928"/>
                <a:gd name="T38" fmla="*/ 225 w 410"/>
                <a:gd name="T39" fmla="*/ 817 h 928"/>
                <a:gd name="T40" fmla="*/ 217 w 410"/>
                <a:gd name="T41" fmla="*/ 733 h 928"/>
                <a:gd name="T42" fmla="*/ 215 w 410"/>
                <a:gd name="T43" fmla="*/ 705 h 928"/>
                <a:gd name="T44" fmla="*/ 214 w 410"/>
                <a:gd name="T45" fmla="*/ 679 h 928"/>
                <a:gd name="T46" fmla="*/ 181 w 410"/>
                <a:gd name="T47" fmla="*/ 527 h 928"/>
                <a:gd name="T48" fmla="*/ 177 w 410"/>
                <a:gd name="T49" fmla="*/ 375 h 928"/>
                <a:gd name="T50" fmla="*/ 77 w 410"/>
                <a:gd name="T51" fmla="*/ 395 h 928"/>
                <a:gd name="T52" fmla="*/ 40 w 410"/>
                <a:gd name="T53" fmla="*/ 392 h 928"/>
                <a:gd name="T54" fmla="*/ 20 w 410"/>
                <a:gd name="T55" fmla="*/ 396 h 928"/>
                <a:gd name="T56" fmla="*/ 15 w 410"/>
                <a:gd name="T57" fmla="*/ 384 h 928"/>
                <a:gd name="T58" fmla="*/ 10 w 410"/>
                <a:gd name="T59" fmla="*/ 373 h 928"/>
                <a:gd name="T60" fmla="*/ 12 w 410"/>
                <a:gd name="T61" fmla="*/ 356 h 928"/>
                <a:gd name="T62" fmla="*/ 4 w 410"/>
                <a:gd name="T63" fmla="*/ 347 h 928"/>
                <a:gd name="T64" fmla="*/ 18 w 410"/>
                <a:gd name="T65" fmla="*/ 332 h 928"/>
                <a:gd name="T66" fmla="*/ 58 w 410"/>
                <a:gd name="T67" fmla="*/ 329 h 928"/>
                <a:gd name="T68" fmla="*/ 115 w 410"/>
                <a:gd name="T69" fmla="*/ 326 h 928"/>
                <a:gd name="T70" fmla="*/ 123 w 410"/>
                <a:gd name="T71" fmla="*/ 302 h 928"/>
                <a:gd name="T72" fmla="*/ 132 w 410"/>
                <a:gd name="T73" fmla="*/ 279 h 928"/>
                <a:gd name="T74" fmla="*/ 135 w 410"/>
                <a:gd name="T75" fmla="*/ 256 h 928"/>
                <a:gd name="T76" fmla="*/ 151 w 410"/>
                <a:gd name="T77" fmla="*/ 185 h 928"/>
                <a:gd name="T78" fmla="*/ 186 w 410"/>
                <a:gd name="T79" fmla="*/ 156 h 928"/>
                <a:gd name="T80" fmla="*/ 181 w 410"/>
                <a:gd name="T81" fmla="*/ 142 h 928"/>
                <a:gd name="T82" fmla="*/ 154 w 410"/>
                <a:gd name="T83" fmla="*/ 131 h 928"/>
                <a:gd name="T84" fmla="*/ 149 w 410"/>
                <a:gd name="T85" fmla="*/ 124 h 928"/>
                <a:gd name="T86" fmla="*/ 141 w 410"/>
                <a:gd name="T87" fmla="*/ 111 h 928"/>
                <a:gd name="T88" fmla="*/ 137 w 410"/>
                <a:gd name="T89" fmla="*/ 88 h 928"/>
                <a:gd name="T90" fmla="*/ 129 w 410"/>
                <a:gd name="T91" fmla="*/ 54 h 928"/>
                <a:gd name="T92" fmla="*/ 127 w 410"/>
                <a:gd name="T93" fmla="*/ 30 h 928"/>
                <a:gd name="T94" fmla="*/ 172 w 410"/>
                <a:gd name="T95" fmla="*/ 2 h 928"/>
                <a:gd name="T96" fmla="*/ 228 w 410"/>
                <a:gd name="T97" fmla="*/ 28 h 928"/>
                <a:gd name="T98" fmla="*/ 235 w 410"/>
                <a:gd name="T99" fmla="*/ 91 h 928"/>
                <a:gd name="T100" fmla="*/ 269 w 410"/>
                <a:gd name="T101" fmla="*/ 121 h 928"/>
                <a:gd name="T102" fmla="*/ 340 w 410"/>
                <a:gd name="T103" fmla="*/ 136 h 928"/>
                <a:gd name="T104" fmla="*/ 382 w 410"/>
                <a:gd name="T105" fmla="*/ 224 h 928"/>
                <a:gd name="T106" fmla="*/ 399 w 410"/>
                <a:gd name="T107" fmla="*/ 310 h 928"/>
                <a:gd name="T108" fmla="*/ 383 w 410"/>
                <a:gd name="T109" fmla="*/ 403 h 928"/>
                <a:gd name="T110" fmla="*/ 402 w 410"/>
                <a:gd name="T111" fmla="*/ 480 h 928"/>
                <a:gd name="T112" fmla="*/ 366 w 410"/>
                <a:gd name="T113" fmla="*/ 477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0" h="928">
                  <a:moveTo>
                    <a:pt x="366" y="477"/>
                  </a:moveTo>
                  <a:lnTo>
                    <a:pt x="366" y="477"/>
                  </a:lnTo>
                  <a:lnTo>
                    <a:pt x="368" y="481"/>
                  </a:lnTo>
                  <a:lnTo>
                    <a:pt x="368" y="491"/>
                  </a:lnTo>
                  <a:lnTo>
                    <a:pt x="366" y="497"/>
                  </a:lnTo>
                  <a:lnTo>
                    <a:pt x="365" y="501"/>
                  </a:lnTo>
                  <a:lnTo>
                    <a:pt x="360" y="506"/>
                  </a:lnTo>
                  <a:lnTo>
                    <a:pt x="356" y="507"/>
                  </a:lnTo>
                  <a:lnTo>
                    <a:pt x="356" y="507"/>
                  </a:lnTo>
                  <a:lnTo>
                    <a:pt x="362" y="543"/>
                  </a:lnTo>
                  <a:lnTo>
                    <a:pt x="368" y="574"/>
                  </a:lnTo>
                  <a:lnTo>
                    <a:pt x="370" y="600"/>
                  </a:lnTo>
                  <a:lnTo>
                    <a:pt x="370" y="600"/>
                  </a:lnTo>
                  <a:lnTo>
                    <a:pt x="371" y="649"/>
                  </a:lnTo>
                  <a:lnTo>
                    <a:pt x="373" y="672"/>
                  </a:lnTo>
                  <a:lnTo>
                    <a:pt x="376" y="691"/>
                  </a:lnTo>
                  <a:lnTo>
                    <a:pt x="376" y="691"/>
                  </a:lnTo>
                  <a:lnTo>
                    <a:pt x="380" y="711"/>
                  </a:lnTo>
                  <a:lnTo>
                    <a:pt x="386" y="739"/>
                  </a:lnTo>
                  <a:lnTo>
                    <a:pt x="390" y="768"/>
                  </a:lnTo>
                  <a:lnTo>
                    <a:pt x="391" y="794"/>
                  </a:lnTo>
                  <a:lnTo>
                    <a:pt x="391" y="794"/>
                  </a:lnTo>
                  <a:lnTo>
                    <a:pt x="391" y="839"/>
                  </a:lnTo>
                  <a:lnTo>
                    <a:pt x="390" y="859"/>
                  </a:lnTo>
                  <a:lnTo>
                    <a:pt x="385" y="867"/>
                  </a:lnTo>
                  <a:lnTo>
                    <a:pt x="385" y="867"/>
                  </a:lnTo>
                  <a:lnTo>
                    <a:pt x="386" y="868"/>
                  </a:lnTo>
                  <a:lnTo>
                    <a:pt x="391" y="876"/>
                  </a:lnTo>
                  <a:lnTo>
                    <a:pt x="396" y="884"/>
                  </a:lnTo>
                  <a:lnTo>
                    <a:pt x="397" y="890"/>
                  </a:lnTo>
                  <a:lnTo>
                    <a:pt x="397" y="894"/>
                  </a:lnTo>
                  <a:lnTo>
                    <a:pt x="397" y="894"/>
                  </a:lnTo>
                  <a:lnTo>
                    <a:pt x="396" y="905"/>
                  </a:lnTo>
                  <a:lnTo>
                    <a:pt x="396" y="911"/>
                  </a:lnTo>
                  <a:lnTo>
                    <a:pt x="393" y="916"/>
                  </a:lnTo>
                  <a:lnTo>
                    <a:pt x="390" y="921"/>
                  </a:lnTo>
                  <a:lnTo>
                    <a:pt x="383" y="925"/>
                  </a:lnTo>
                  <a:lnTo>
                    <a:pt x="373" y="927"/>
                  </a:lnTo>
                  <a:lnTo>
                    <a:pt x="360" y="928"/>
                  </a:lnTo>
                  <a:lnTo>
                    <a:pt x="360" y="928"/>
                  </a:lnTo>
                  <a:lnTo>
                    <a:pt x="356" y="928"/>
                  </a:lnTo>
                  <a:lnTo>
                    <a:pt x="349" y="928"/>
                  </a:lnTo>
                  <a:lnTo>
                    <a:pt x="345" y="927"/>
                  </a:lnTo>
                  <a:lnTo>
                    <a:pt x="340" y="924"/>
                  </a:lnTo>
                  <a:lnTo>
                    <a:pt x="336" y="917"/>
                  </a:lnTo>
                  <a:lnTo>
                    <a:pt x="334" y="911"/>
                  </a:lnTo>
                  <a:lnTo>
                    <a:pt x="336" y="901"/>
                  </a:lnTo>
                  <a:lnTo>
                    <a:pt x="336" y="901"/>
                  </a:lnTo>
                  <a:lnTo>
                    <a:pt x="337" y="882"/>
                  </a:lnTo>
                  <a:lnTo>
                    <a:pt x="337" y="873"/>
                  </a:lnTo>
                  <a:lnTo>
                    <a:pt x="336" y="871"/>
                  </a:lnTo>
                  <a:lnTo>
                    <a:pt x="334" y="871"/>
                  </a:lnTo>
                  <a:lnTo>
                    <a:pt x="325" y="868"/>
                  </a:lnTo>
                  <a:lnTo>
                    <a:pt x="328" y="860"/>
                  </a:lnTo>
                  <a:lnTo>
                    <a:pt x="328" y="860"/>
                  </a:lnTo>
                  <a:lnTo>
                    <a:pt x="325" y="857"/>
                  </a:lnTo>
                  <a:lnTo>
                    <a:pt x="323" y="854"/>
                  </a:lnTo>
                  <a:lnTo>
                    <a:pt x="323" y="851"/>
                  </a:lnTo>
                  <a:lnTo>
                    <a:pt x="323" y="851"/>
                  </a:lnTo>
                  <a:lnTo>
                    <a:pt x="328" y="845"/>
                  </a:lnTo>
                  <a:lnTo>
                    <a:pt x="329" y="844"/>
                  </a:lnTo>
                  <a:lnTo>
                    <a:pt x="328" y="840"/>
                  </a:lnTo>
                  <a:lnTo>
                    <a:pt x="328" y="840"/>
                  </a:lnTo>
                  <a:lnTo>
                    <a:pt x="326" y="833"/>
                  </a:lnTo>
                  <a:lnTo>
                    <a:pt x="325" y="828"/>
                  </a:lnTo>
                  <a:lnTo>
                    <a:pt x="325" y="828"/>
                  </a:lnTo>
                  <a:lnTo>
                    <a:pt x="323" y="796"/>
                  </a:lnTo>
                  <a:lnTo>
                    <a:pt x="322" y="771"/>
                  </a:lnTo>
                  <a:lnTo>
                    <a:pt x="320" y="749"/>
                  </a:lnTo>
                  <a:lnTo>
                    <a:pt x="320" y="749"/>
                  </a:lnTo>
                  <a:lnTo>
                    <a:pt x="316" y="728"/>
                  </a:lnTo>
                  <a:lnTo>
                    <a:pt x="311" y="702"/>
                  </a:lnTo>
                  <a:lnTo>
                    <a:pt x="305" y="679"/>
                  </a:lnTo>
                  <a:lnTo>
                    <a:pt x="303" y="663"/>
                  </a:lnTo>
                  <a:lnTo>
                    <a:pt x="303" y="663"/>
                  </a:lnTo>
                  <a:lnTo>
                    <a:pt x="300" y="648"/>
                  </a:lnTo>
                  <a:lnTo>
                    <a:pt x="292" y="625"/>
                  </a:lnTo>
                  <a:lnTo>
                    <a:pt x="283" y="594"/>
                  </a:lnTo>
                  <a:lnTo>
                    <a:pt x="283" y="594"/>
                  </a:lnTo>
                  <a:lnTo>
                    <a:pt x="285" y="612"/>
                  </a:lnTo>
                  <a:lnTo>
                    <a:pt x="286" y="628"/>
                  </a:lnTo>
                  <a:lnTo>
                    <a:pt x="285" y="638"/>
                  </a:lnTo>
                  <a:lnTo>
                    <a:pt x="285" y="638"/>
                  </a:lnTo>
                  <a:lnTo>
                    <a:pt x="285" y="651"/>
                  </a:lnTo>
                  <a:lnTo>
                    <a:pt x="285" y="669"/>
                  </a:lnTo>
                  <a:lnTo>
                    <a:pt x="288" y="702"/>
                  </a:lnTo>
                  <a:lnTo>
                    <a:pt x="288" y="702"/>
                  </a:lnTo>
                  <a:lnTo>
                    <a:pt x="288" y="714"/>
                  </a:lnTo>
                  <a:lnTo>
                    <a:pt x="285" y="728"/>
                  </a:lnTo>
                  <a:lnTo>
                    <a:pt x="285" y="742"/>
                  </a:lnTo>
                  <a:lnTo>
                    <a:pt x="285" y="748"/>
                  </a:lnTo>
                  <a:lnTo>
                    <a:pt x="285" y="754"/>
                  </a:lnTo>
                  <a:lnTo>
                    <a:pt x="285" y="754"/>
                  </a:lnTo>
                  <a:lnTo>
                    <a:pt x="288" y="765"/>
                  </a:lnTo>
                  <a:lnTo>
                    <a:pt x="288" y="774"/>
                  </a:lnTo>
                  <a:lnTo>
                    <a:pt x="289" y="791"/>
                  </a:lnTo>
                  <a:lnTo>
                    <a:pt x="289" y="791"/>
                  </a:lnTo>
                  <a:lnTo>
                    <a:pt x="291" y="831"/>
                  </a:lnTo>
                  <a:lnTo>
                    <a:pt x="291" y="842"/>
                  </a:lnTo>
                  <a:lnTo>
                    <a:pt x="291" y="851"/>
                  </a:lnTo>
                  <a:lnTo>
                    <a:pt x="288" y="857"/>
                  </a:lnTo>
                  <a:lnTo>
                    <a:pt x="286" y="859"/>
                  </a:lnTo>
                  <a:lnTo>
                    <a:pt x="285" y="859"/>
                  </a:lnTo>
                  <a:lnTo>
                    <a:pt x="285" y="859"/>
                  </a:lnTo>
                  <a:lnTo>
                    <a:pt x="285" y="862"/>
                  </a:lnTo>
                  <a:lnTo>
                    <a:pt x="285" y="870"/>
                  </a:lnTo>
                  <a:lnTo>
                    <a:pt x="285" y="874"/>
                  </a:lnTo>
                  <a:lnTo>
                    <a:pt x="282" y="879"/>
                  </a:lnTo>
                  <a:lnTo>
                    <a:pt x="279" y="882"/>
                  </a:lnTo>
                  <a:lnTo>
                    <a:pt x="272" y="884"/>
                  </a:lnTo>
                  <a:lnTo>
                    <a:pt x="272" y="884"/>
                  </a:lnTo>
                  <a:lnTo>
                    <a:pt x="246" y="890"/>
                  </a:lnTo>
                  <a:lnTo>
                    <a:pt x="246" y="884"/>
                  </a:lnTo>
                  <a:lnTo>
                    <a:pt x="246" y="884"/>
                  </a:lnTo>
                  <a:lnTo>
                    <a:pt x="243" y="888"/>
                  </a:lnTo>
                  <a:lnTo>
                    <a:pt x="234" y="896"/>
                  </a:lnTo>
                  <a:lnTo>
                    <a:pt x="226" y="901"/>
                  </a:lnTo>
                  <a:lnTo>
                    <a:pt x="218" y="904"/>
                  </a:lnTo>
                  <a:lnTo>
                    <a:pt x="209" y="907"/>
                  </a:lnTo>
                  <a:lnTo>
                    <a:pt x="200" y="908"/>
                  </a:lnTo>
                  <a:lnTo>
                    <a:pt x="200" y="908"/>
                  </a:lnTo>
                  <a:lnTo>
                    <a:pt x="191" y="907"/>
                  </a:lnTo>
                  <a:lnTo>
                    <a:pt x="181" y="905"/>
                  </a:lnTo>
                  <a:lnTo>
                    <a:pt x="175" y="904"/>
                  </a:lnTo>
                  <a:lnTo>
                    <a:pt x="172" y="901"/>
                  </a:lnTo>
                  <a:lnTo>
                    <a:pt x="171" y="896"/>
                  </a:lnTo>
                  <a:lnTo>
                    <a:pt x="171" y="891"/>
                  </a:lnTo>
                  <a:lnTo>
                    <a:pt x="175" y="885"/>
                  </a:lnTo>
                  <a:lnTo>
                    <a:pt x="181" y="877"/>
                  </a:lnTo>
                  <a:lnTo>
                    <a:pt x="181" y="877"/>
                  </a:lnTo>
                  <a:lnTo>
                    <a:pt x="198" y="865"/>
                  </a:lnTo>
                  <a:lnTo>
                    <a:pt x="212" y="857"/>
                  </a:lnTo>
                  <a:lnTo>
                    <a:pt x="222" y="853"/>
                  </a:lnTo>
                  <a:lnTo>
                    <a:pt x="226" y="851"/>
                  </a:lnTo>
                  <a:lnTo>
                    <a:pt x="220" y="850"/>
                  </a:lnTo>
                  <a:lnTo>
                    <a:pt x="220" y="850"/>
                  </a:lnTo>
                  <a:lnTo>
                    <a:pt x="223" y="836"/>
                  </a:lnTo>
                  <a:lnTo>
                    <a:pt x="225" y="825"/>
                  </a:lnTo>
                  <a:lnTo>
                    <a:pt x="225" y="817"/>
                  </a:lnTo>
                  <a:lnTo>
                    <a:pt x="225" y="817"/>
                  </a:lnTo>
                  <a:lnTo>
                    <a:pt x="215" y="786"/>
                  </a:lnTo>
                  <a:lnTo>
                    <a:pt x="211" y="768"/>
                  </a:lnTo>
                  <a:lnTo>
                    <a:pt x="211" y="760"/>
                  </a:lnTo>
                  <a:lnTo>
                    <a:pt x="211" y="754"/>
                  </a:lnTo>
                  <a:lnTo>
                    <a:pt x="211" y="754"/>
                  </a:lnTo>
                  <a:lnTo>
                    <a:pt x="215" y="739"/>
                  </a:lnTo>
                  <a:lnTo>
                    <a:pt x="217" y="733"/>
                  </a:lnTo>
                  <a:lnTo>
                    <a:pt x="217" y="725"/>
                  </a:lnTo>
                  <a:lnTo>
                    <a:pt x="217" y="725"/>
                  </a:lnTo>
                  <a:lnTo>
                    <a:pt x="215" y="717"/>
                  </a:lnTo>
                  <a:lnTo>
                    <a:pt x="217" y="712"/>
                  </a:lnTo>
                  <a:lnTo>
                    <a:pt x="217" y="709"/>
                  </a:lnTo>
                  <a:lnTo>
                    <a:pt x="215" y="705"/>
                  </a:lnTo>
                  <a:lnTo>
                    <a:pt x="215" y="705"/>
                  </a:lnTo>
                  <a:lnTo>
                    <a:pt x="211" y="697"/>
                  </a:lnTo>
                  <a:lnTo>
                    <a:pt x="211" y="692"/>
                  </a:lnTo>
                  <a:lnTo>
                    <a:pt x="211" y="689"/>
                  </a:lnTo>
                  <a:lnTo>
                    <a:pt x="211" y="689"/>
                  </a:lnTo>
                  <a:lnTo>
                    <a:pt x="215" y="683"/>
                  </a:lnTo>
                  <a:lnTo>
                    <a:pt x="215" y="682"/>
                  </a:lnTo>
                  <a:lnTo>
                    <a:pt x="214" y="679"/>
                  </a:lnTo>
                  <a:lnTo>
                    <a:pt x="214" y="679"/>
                  </a:lnTo>
                  <a:lnTo>
                    <a:pt x="211" y="669"/>
                  </a:lnTo>
                  <a:lnTo>
                    <a:pt x="209" y="662"/>
                  </a:lnTo>
                  <a:lnTo>
                    <a:pt x="209" y="662"/>
                  </a:lnTo>
                  <a:lnTo>
                    <a:pt x="197" y="603"/>
                  </a:lnTo>
                  <a:lnTo>
                    <a:pt x="186" y="554"/>
                  </a:lnTo>
                  <a:lnTo>
                    <a:pt x="181" y="527"/>
                  </a:lnTo>
                  <a:lnTo>
                    <a:pt x="178" y="504"/>
                  </a:lnTo>
                  <a:lnTo>
                    <a:pt x="178" y="504"/>
                  </a:lnTo>
                  <a:lnTo>
                    <a:pt x="177" y="483"/>
                  </a:lnTo>
                  <a:lnTo>
                    <a:pt x="177" y="461"/>
                  </a:lnTo>
                  <a:lnTo>
                    <a:pt x="178" y="420"/>
                  </a:lnTo>
                  <a:lnTo>
                    <a:pt x="178" y="387"/>
                  </a:lnTo>
                  <a:lnTo>
                    <a:pt x="177" y="375"/>
                  </a:lnTo>
                  <a:lnTo>
                    <a:pt x="175" y="366"/>
                  </a:lnTo>
                  <a:lnTo>
                    <a:pt x="175" y="366"/>
                  </a:lnTo>
                  <a:lnTo>
                    <a:pt x="129" y="381"/>
                  </a:lnTo>
                  <a:lnTo>
                    <a:pt x="97" y="390"/>
                  </a:lnTo>
                  <a:lnTo>
                    <a:pt x="78" y="395"/>
                  </a:lnTo>
                  <a:lnTo>
                    <a:pt x="78" y="395"/>
                  </a:lnTo>
                  <a:lnTo>
                    <a:pt x="77" y="395"/>
                  </a:lnTo>
                  <a:lnTo>
                    <a:pt x="74" y="392"/>
                  </a:lnTo>
                  <a:lnTo>
                    <a:pt x="69" y="386"/>
                  </a:lnTo>
                  <a:lnTo>
                    <a:pt x="64" y="375"/>
                  </a:lnTo>
                  <a:lnTo>
                    <a:pt x="64" y="375"/>
                  </a:lnTo>
                  <a:lnTo>
                    <a:pt x="44" y="389"/>
                  </a:lnTo>
                  <a:lnTo>
                    <a:pt x="44" y="389"/>
                  </a:lnTo>
                  <a:lnTo>
                    <a:pt x="40" y="392"/>
                  </a:lnTo>
                  <a:lnTo>
                    <a:pt x="33" y="393"/>
                  </a:lnTo>
                  <a:lnTo>
                    <a:pt x="30" y="393"/>
                  </a:lnTo>
                  <a:lnTo>
                    <a:pt x="29" y="392"/>
                  </a:lnTo>
                  <a:lnTo>
                    <a:pt x="30" y="389"/>
                  </a:lnTo>
                  <a:lnTo>
                    <a:pt x="30" y="389"/>
                  </a:lnTo>
                  <a:lnTo>
                    <a:pt x="24" y="395"/>
                  </a:lnTo>
                  <a:lnTo>
                    <a:pt x="20" y="396"/>
                  </a:lnTo>
                  <a:lnTo>
                    <a:pt x="16" y="396"/>
                  </a:lnTo>
                  <a:lnTo>
                    <a:pt x="15" y="393"/>
                  </a:lnTo>
                  <a:lnTo>
                    <a:pt x="15" y="393"/>
                  </a:lnTo>
                  <a:lnTo>
                    <a:pt x="13" y="389"/>
                  </a:lnTo>
                  <a:lnTo>
                    <a:pt x="13" y="386"/>
                  </a:lnTo>
                  <a:lnTo>
                    <a:pt x="15" y="384"/>
                  </a:lnTo>
                  <a:lnTo>
                    <a:pt x="15" y="384"/>
                  </a:lnTo>
                  <a:lnTo>
                    <a:pt x="12" y="386"/>
                  </a:lnTo>
                  <a:lnTo>
                    <a:pt x="9" y="386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78"/>
                  </a:lnTo>
                  <a:lnTo>
                    <a:pt x="7" y="375"/>
                  </a:lnTo>
                  <a:lnTo>
                    <a:pt x="10" y="373"/>
                  </a:lnTo>
                  <a:lnTo>
                    <a:pt x="10" y="373"/>
                  </a:lnTo>
                  <a:lnTo>
                    <a:pt x="6" y="372"/>
                  </a:lnTo>
                  <a:lnTo>
                    <a:pt x="4" y="369"/>
                  </a:lnTo>
                  <a:lnTo>
                    <a:pt x="4" y="366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12" y="356"/>
                  </a:lnTo>
                  <a:lnTo>
                    <a:pt x="16" y="350"/>
                  </a:lnTo>
                  <a:lnTo>
                    <a:pt x="16" y="350"/>
                  </a:lnTo>
                  <a:lnTo>
                    <a:pt x="21" y="344"/>
                  </a:lnTo>
                  <a:lnTo>
                    <a:pt x="21" y="344"/>
                  </a:lnTo>
                  <a:lnTo>
                    <a:pt x="9" y="347"/>
                  </a:lnTo>
                  <a:lnTo>
                    <a:pt x="9" y="347"/>
                  </a:lnTo>
                  <a:lnTo>
                    <a:pt x="4" y="347"/>
                  </a:lnTo>
                  <a:lnTo>
                    <a:pt x="0" y="344"/>
                  </a:lnTo>
                  <a:lnTo>
                    <a:pt x="0" y="343"/>
                  </a:lnTo>
                  <a:lnTo>
                    <a:pt x="0" y="339"/>
                  </a:lnTo>
                  <a:lnTo>
                    <a:pt x="1" y="338"/>
                  </a:lnTo>
                  <a:lnTo>
                    <a:pt x="4" y="336"/>
                  </a:lnTo>
                  <a:lnTo>
                    <a:pt x="4" y="336"/>
                  </a:lnTo>
                  <a:lnTo>
                    <a:pt x="18" y="332"/>
                  </a:lnTo>
                  <a:lnTo>
                    <a:pt x="27" y="327"/>
                  </a:lnTo>
                  <a:lnTo>
                    <a:pt x="27" y="327"/>
                  </a:lnTo>
                  <a:lnTo>
                    <a:pt x="37" y="324"/>
                  </a:lnTo>
                  <a:lnTo>
                    <a:pt x="40" y="324"/>
                  </a:lnTo>
                  <a:lnTo>
                    <a:pt x="44" y="326"/>
                  </a:lnTo>
                  <a:lnTo>
                    <a:pt x="44" y="326"/>
                  </a:lnTo>
                  <a:lnTo>
                    <a:pt x="58" y="329"/>
                  </a:lnTo>
                  <a:lnTo>
                    <a:pt x="67" y="329"/>
                  </a:lnTo>
                  <a:lnTo>
                    <a:pt x="67" y="329"/>
                  </a:lnTo>
                  <a:lnTo>
                    <a:pt x="72" y="329"/>
                  </a:lnTo>
                  <a:lnTo>
                    <a:pt x="89" y="326"/>
                  </a:lnTo>
                  <a:lnTo>
                    <a:pt x="89" y="326"/>
                  </a:lnTo>
                  <a:lnTo>
                    <a:pt x="111" y="326"/>
                  </a:lnTo>
                  <a:lnTo>
                    <a:pt x="115" y="326"/>
                  </a:lnTo>
                  <a:lnTo>
                    <a:pt x="120" y="324"/>
                  </a:lnTo>
                  <a:lnTo>
                    <a:pt x="121" y="321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23" y="310"/>
                  </a:lnTo>
                  <a:lnTo>
                    <a:pt x="123" y="306"/>
                  </a:lnTo>
                  <a:lnTo>
                    <a:pt x="123" y="302"/>
                  </a:lnTo>
                  <a:lnTo>
                    <a:pt x="126" y="298"/>
                  </a:lnTo>
                  <a:lnTo>
                    <a:pt x="126" y="298"/>
                  </a:lnTo>
                  <a:lnTo>
                    <a:pt x="131" y="292"/>
                  </a:lnTo>
                  <a:lnTo>
                    <a:pt x="132" y="290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2" y="279"/>
                  </a:lnTo>
                  <a:lnTo>
                    <a:pt x="132" y="273"/>
                  </a:lnTo>
                  <a:lnTo>
                    <a:pt x="132" y="273"/>
                  </a:lnTo>
                  <a:lnTo>
                    <a:pt x="132" y="270"/>
                  </a:lnTo>
                  <a:lnTo>
                    <a:pt x="135" y="267"/>
                  </a:lnTo>
                  <a:lnTo>
                    <a:pt x="135" y="262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7" y="244"/>
                  </a:lnTo>
                  <a:lnTo>
                    <a:pt x="140" y="228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196"/>
                  </a:lnTo>
                  <a:lnTo>
                    <a:pt x="148" y="191"/>
                  </a:lnTo>
                  <a:lnTo>
                    <a:pt x="151" y="185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69" y="171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80" y="159"/>
                  </a:lnTo>
                  <a:lnTo>
                    <a:pt x="186" y="156"/>
                  </a:lnTo>
                  <a:lnTo>
                    <a:pt x="192" y="153"/>
                  </a:lnTo>
                  <a:lnTo>
                    <a:pt x="192" y="153"/>
                  </a:lnTo>
                  <a:lnTo>
                    <a:pt x="192" y="148"/>
                  </a:lnTo>
                  <a:lnTo>
                    <a:pt x="191" y="145"/>
                  </a:lnTo>
                  <a:lnTo>
                    <a:pt x="188" y="142"/>
                  </a:lnTo>
                  <a:lnTo>
                    <a:pt x="188" y="142"/>
                  </a:lnTo>
                  <a:lnTo>
                    <a:pt x="181" y="142"/>
                  </a:lnTo>
                  <a:lnTo>
                    <a:pt x="172" y="144"/>
                  </a:lnTo>
                  <a:lnTo>
                    <a:pt x="166" y="145"/>
                  </a:lnTo>
                  <a:lnTo>
                    <a:pt x="163" y="144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57" y="136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2" y="127"/>
                  </a:lnTo>
                  <a:lnTo>
                    <a:pt x="152" y="125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1" y="124"/>
                  </a:lnTo>
                  <a:lnTo>
                    <a:pt x="149" y="124"/>
                  </a:lnTo>
                  <a:lnTo>
                    <a:pt x="149" y="122"/>
                  </a:lnTo>
                  <a:lnTo>
                    <a:pt x="149" y="122"/>
                  </a:lnTo>
                  <a:lnTo>
                    <a:pt x="148" y="116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4" y="113"/>
                  </a:lnTo>
                  <a:lnTo>
                    <a:pt x="141" y="111"/>
                  </a:lnTo>
                  <a:lnTo>
                    <a:pt x="141" y="105"/>
                  </a:lnTo>
                  <a:lnTo>
                    <a:pt x="141" y="105"/>
                  </a:lnTo>
                  <a:lnTo>
                    <a:pt x="143" y="99"/>
                  </a:lnTo>
                  <a:lnTo>
                    <a:pt x="141" y="93"/>
                  </a:lnTo>
                  <a:lnTo>
                    <a:pt x="141" y="93"/>
                  </a:lnTo>
                  <a:lnTo>
                    <a:pt x="138" y="90"/>
                  </a:lnTo>
                  <a:lnTo>
                    <a:pt x="137" y="88"/>
                  </a:lnTo>
                  <a:lnTo>
                    <a:pt x="135" y="87"/>
                  </a:lnTo>
                  <a:lnTo>
                    <a:pt x="134" y="82"/>
                  </a:lnTo>
                  <a:lnTo>
                    <a:pt x="134" y="82"/>
                  </a:lnTo>
                  <a:lnTo>
                    <a:pt x="134" y="73"/>
                  </a:lnTo>
                  <a:lnTo>
                    <a:pt x="132" y="62"/>
                  </a:lnTo>
                  <a:lnTo>
                    <a:pt x="132" y="62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6" y="51"/>
                  </a:lnTo>
                  <a:lnTo>
                    <a:pt x="124" y="48"/>
                  </a:lnTo>
                  <a:lnTo>
                    <a:pt x="124" y="42"/>
                  </a:lnTo>
                  <a:lnTo>
                    <a:pt x="124" y="42"/>
                  </a:lnTo>
                  <a:lnTo>
                    <a:pt x="126" y="34"/>
                  </a:lnTo>
                  <a:lnTo>
                    <a:pt x="127" y="30"/>
                  </a:lnTo>
                  <a:lnTo>
                    <a:pt x="131" y="27"/>
                  </a:lnTo>
                  <a:lnTo>
                    <a:pt x="134" y="22"/>
                  </a:lnTo>
                  <a:lnTo>
                    <a:pt x="140" y="17"/>
                  </a:lnTo>
                  <a:lnTo>
                    <a:pt x="149" y="11"/>
                  </a:lnTo>
                  <a:lnTo>
                    <a:pt x="160" y="6"/>
                  </a:lnTo>
                  <a:lnTo>
                    <a:pt x="160" y="6"/>
                  </a:lnTo>
                  <a:lnTo>
                    <a:pt x="172" y="2"/>
                  </a:lnTo>
                  <a:lnTo>
                    <a:pt x="185" y="0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8"/>
                  </a:lnTo>
                  <a:lnTo>
                    <a:pt x="218" y="14"/>
                  </a:lnTo>
                  <a:lnTo>
                    <a:pt x="223" y="20"/>
                  </a:lnTo>
                  <a:lnTo>
                    <a:pt x="228" y="28"/>
                  </a:lnTo>
                  <a:lnTo>
                    <a:pt x="228" y="28"/>
                  </a:lnTo>
                  <a:lnTo>
                    <a:pt x="231" y="37"/>
                  </a:lnTo>
                  <a:lnTo>
                    <a:pt x="231" y="45"/>
                  </a:lnTo>
                  <a:lnTo>
                    <a:pt x="232" y="62"/>
                  </a:lnTo>
                  <a:lnTo>
                    <a:pt x="232" y="79"/>
                  </a:lnTo>
                  <a:lnTo>
                    <a:pt x="232" y="85"/>
                  </a:lnTo>
                  <a:lnTo>
                    <a:pt x="235" y="91"/>
                  </a:lnTo>
                  <a:lnTo>
                    <a:pt x="235" y="91"/>
                  </a:lnTo>
                  <a:lnTo>
                    <a:pt x="242" y="102"/>
                  </a:lnTo>
                  <a:lnTo>
                    <a:pt x="248" y="110"/>
                  </a:lnTo>
                  <a:lnTo>
                    <a:pt x="254" y="116"/>
                  </a:lnTo>
                  <a:lnTo>
                    <a:pt x="260" y="119"/>
                  </a:lnTo>
                  <a:lnTo>
                    <a:pt x="260" y="119"/>
                  </a:lnTo>
                  <a:lnTo>
                    <a:pt x="269" y="121"/>
                  </a:lnTo>
                  <a:lnTo>
                    <a:pt x="286" y="122"/>
                  </a:lnTo>
                  <a:lnTo>
                    <a:pt x="306" y="124"/>
                  </a:lnTo>
                  <a:lnTo>
                    <a:pt x="322" y="127"/>
                  </a:lnTo>
                  <a:lnTo>
                    <a:pt x="322" y="127"/>
                  </a:lnTo>
                  <a:lnTo>
                    <a:pt x="333" y="130"/>
                  </a:lnTo>
                  <a:lnTo>
                    <a:pt x="337" y="133"/>
                  </a:lnTo>
                  <a:lnTo>
                    <a:pt x="340" y="136"/>
                  </a:lnTo>
                  <a:lnTo>
                    <a:pt x="346" y="145"/>
                  </a:lnTo>
                  <a:lnTo>
                    <a:pt x="354" y="162"/>
                  </a:lnTo>
                  <a:lnTo>
                    <a:pt x="354" y="162"/>
                  </a:lnTo>
                  <a:lnTo>
                    <a:pt x="362" y="182"/>
                  </a:lnTo>
                  <a:lnTo>
                    <a:pt x="371" y="199"/>
                  </a:lnTo>
                  <a:lnTo>
                    <a:pt x="379" y="216"/>
                  </a:lnTo>
                  <a:lnTo>
                    <a:pt x="382" y="224"/>
                  </a:lnTo>
                  <a:lnTo>
                    <a:pt x="382" y="233"/>
                  </a:lnTo>
                  <a:lnTo>
                    <a:pt x="382" y="233"/>
                  </a:lnTo>
                  <a:lnTo>
                    <a:pt x="383" y="244"/>
                  </a:lnTo>
                  <a:lnTo>
                    <a:pt x="385" y="255"/>
                  </a:lnTo>
                  <a:lnTo>
                    <a:pt x="391" y="278"/>
                  </a:lnTo>
                  <a:lnTo>
                    <a:pt x="397" y="299"/>
                  </a:lnTo>
                  <a:lnTo>
                    <a:pt x="399" y="310"/>
                  </a:lnTo>
                  <a:lnTo>
                    <a:pt x="399" y="318"/>
                  </a:lnTo>
                  <a:lnTo>
                    <a:pt x="399" y="318"/>
                  </a:lnTo>
                  <a:lnTo>
                    <a:pt x="396" y="336"/>
                  </a:lnTo>
                  <a:lnTo>
                    <a:pt x="390" y="363"/>
                  </a:lnTo>
                  <a:lnTo>
                    <a:pt x="385" y="386"/>
                  </a:lnTo>
                  <a:lnTo>
                    <a:pt x="383" y="395"/>
                  </a:lnTo>
                  <a:lnTo>
                    <a:pt x="383" y="403"/>
                  </a:lnTo>
                  <a:lnTo>
                    <a:pt x="383" y="403"/>
                  </a:lnTo>
                  <a:lnTo>
                    <a:pt x="397" y="441"/>
                  </a:lnTo>
                  <a:lnTo>
                    <a:pt x="410" y="472"/>
                  </a:lnTo>
                  <a:lnTo>
                    <a:pt x="410" y="472"/>
                  </a:lnTo>
                  <a:lnTo>
                    <a:pt x="410" y="475"/>
                  </a:lnTo>
                  <a:lnTo>
                    <a:pt x="407" y="478"/>
                  </a:lnTo>
                  <a:lnTo>
                    <a:pt x="402" y="480"/>
                  </a:lnTo>
                  <a:lnTo>
                    <a:pt x="396" y="481"/>
                  </a:lnTo>
                  <a:lnTo>
                    <a:pt x="396" y="481"/>
                  </a:lnTo>
                  <a:lnTo>
                    <a:pt x="390" y="480"/>
                  </a:lnTo>
                  <a:lnTo>
                    <a:pt x="382" y="478"/>
                  </a:lnTo>
                  <a:lnTo>
                    <a:pt x="376" y="477"/>
                  </a:lnTo>
                  <a:lnTo>
                    <a:pt x="366" y="477"/>
                  </a:lnTo>
                  <a:lnTo>
                    <a:pt x="366" y="477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4" name="Freeform 40">
              <a:extLst>
                <a:ext uri="{FF2B5EF4-FFF2-40B4-BE49-F238E27FC236}">
                  <a16:creationId xmlns:a16="http://schemas.microsoft.com/office/drawing/2014/main" id="{E3E9DB53-1E66-4F01-A72E-A5D19E612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526" y="2098675"/>
              <a:ext cx="369888" cy="496887"/>
            </a:xfrm>
            <a:custGeom>
              <a:avLst/>
              <a:gdLst>
                <a:gd name="T0" fmla="*/ 125 w 233"/>
                <a:gd name="T1" fmla="*/ 41 h 313"/>
                <a:gd name="T2" fmla="*/ 125 w 233"/>
                <a:gd name="T3" fmla="*/ 43 h 313"/>
                <a:gd name="T4" fmla="*/ 127 w 233"/>
                <a:gd name="T5" fmla="*/ 43 h 313"/>
                <a:gd name="T6" fmla="*/ 125 w 233"/>
                <a:gd name="T7" fmla="*/ 43 h 313"/>
                <a:gd name="T8" fmla="*/ 125 w 233"/>
                <a:gd name="T9" fmla="*/ 41 h 313"/>
                <a:gd name="T10" fmla="*/ 196 w 233"/>
                <a:gd name="T11" fmla="*/ 240 h 313"/>
                <a:gd name="T12" fmla="*/ 178 w 233"/>
                <a:gd name="T13" fmla="*/ 199 h 313"/>
                <a:gd name="T14" fmla="*/ 162 w 233"/>
                <a:gd name="T15" fmla="*/ 152 h 313"/>
                <a:gd name="T16" fmla="*/ 161 w 233"/>
                <a:gd name="T17" fmla="*/ 140 h 313"/>
                <a:gd name="T18" fmla="*/ 165 w 233"/>
                <a:gd name="T19" fmla="*/ 91 h 313"/>
                <a:gd name="T20" fmla="*/ 178 w 233"/>
                <a:gd name="T21" fmla="*/ 37 h 313"/>
                <a:gd name="T22" fmla="*/ 181 w 233"/>
                <a:gd name="T23" fmla="*/ 20 h 313"/>
                <a:gd name="T24" fmla="*/ 184 w 233"/>
                <a:gd name="T25" fmla="*/ 6 h 313"/>
                <a:gd name="T26" fmla="*/ 178 w 233"/>
                <a:gd name="T27" fmla="*/ 0 h 313"/>
                <a:gd name="T28" fmla="*/ 170 w 233"/>
                <a:gd name="T29" fmla="*/ 15 h 313"/>
                <a:gd name="T30" fmla="*/ 150 w 233"/>
                <a:gd name="T31" fmla="*/ 40 h 313"/>
                <a:gd name="T32" fmla="*/ 142 w 233"/>
                <a:gd name="T33" fmla="*/ 44 h 313"/>
                <a:gd name="T34" fmla="*/ 127 w 233"/>
                <a:gd name="T35" fmla="*/ 43 h 313"/>
                <a:gd name="T36" fmla="*/ 128 w 233"/>
                <a:gd name="T37" fmla="*/ 47 h 313"/>
                <a:gd name="T38" fmla="*/ 130 w 233"/>
                <a:gd name="T39" fmla="*/ 75 h 313"/>
                <a:gd name="T40" fmla="*/ 130 w 233"/>
                <a:gd name="T41" fmla="*/ 112 h 313"/>
                <a:gd name="T42" fmla="*/ 130 w 233"/>
                <a:gd name="T43" fmla="*/ 143 h 313"/>
                <a:gd name="T44" fmla="*/ 139 w 233"/>
                <a:gd name="T45" fmla="*/ 67 h 313"/>
                <a:gd name="T46" fmla="*/ 136 w 233"/>
                <a:gd name="T47" fmla="*/ 63 h 313"/>
                <a:gd name="T48" fmla="*/ 139 w 233"/>
                <a:gd name="T49" fmla="*/ 52 h 313"/>
                <a:gd name="T50" fmla="*/ 144 w 233"/>
                <a:gd name="T51" fmla="*/ 51 h 313"/>
                <a:gd name="T52" fmla="*/ 147 w 233"/>
                <a:gd name="T53" fmla="*/ 51 h 313"/>
                <a:gd name="T54" fmla="*/ 151 w 233"/>
                <a:gd name="T55" fmla="*/ 57 h 313"/>
                <a:gd name="T56" fmla="*/ 148 w 233"/>
                <a:gd name="T57" fmla="*/ 67 h 313"/>
                <a:gd name="T58" fmla="*/ 151 w 233"/>
                <a:gd name="T59" fmla="*/ 106 h 313"/>
                <a:gd name="T60" fmla="*/ 151 w 233"/>
                <a:gd name="T61" fmla="*/ 168 h 313"/>
                <a:gd name="T62" fmla="*/ 151 w 233"/>
                <a:gd name="T63" fmla="*/ 195 h 313"/>
                <a:gd name="T64" fmla="*/ 158 w 233"/>
                <a:gd name="T65" fmla="*/ 266 h 313"/>
                <a:gd name="T66" fmla="*/ 128 w 233"/>
                <a:gd name="T67" fmla="*/ 262 h 313"/>
                <a:gd name="T68" fmla="*/ 130 w 233"/>
                <a:gd name="T69" fmla="*/ 280 h 313"/>
                <a:gd name="T70" fmla="*/ 131 w 233"/>
                <a:gd name="T71" fmla="*/ 305 h 313"/>
                <a:gd name="T72" fmla="*/ 134 w 233"/>
                <a:gd name="T73" fmla="*/ 310 h 313"/>
                <a:gd name="T74" fmla="*/ 145 w 233"/>
                <a:gd name="T75" fmla="*/ 313 h 313"/>
                <a:gd name="T76" fmla="*/ 151 w 233"/>
                <a:gd name="T77" fmla="*/ 313 h 313"/>
                <a:gd name="T78" fmla="*/ 181 w 233"/>
                <a:gd name="T79" fmla="*/ 306 h 313"/>
                <a:gd name="T80" fmla="*/ 196 w 233"/>
                <a:gd name="T81" fmla="*/ 305 h 313"/>
                <a:gd name="T82" fmla="*/ 233 w 233"/>
                <a:gd name="T83" fmla="*/ 306 h 313"/>
                <a:gd name="T84" fmla="*/ 219 w 233"/>
                <a:gd name="T85" fmla="*/ 282 h 313"/>
                <a:gd name="T86" fmla="*/ 196 w 233"/>
                <a:gd name="T87" fmla="*/ 240 h 313"/>
                <a:gd name="T88" fmla="*/ 0 w 233"/>
                <a:gd name="T89" fmla="*/ 222 h 313"/>
                <a:gd name="T90" fmla="*/ 11 w 233"/>
                <a:gd name="T91" fmla="*/ 242 h 313"/>
                <a:gd name="T92" fmla="*/ 11 w 233"/>
                <a:gd name="T93" fmla="*/ 252 h 313"/>
                <a:gd name="T94" fmla="*/ 7 w 233"/>
                <a:gd name="T95" fmla="*/ 260 h 313"/>
                <a:gd name="T96" fmla="*/ 8 w 233"/>
                <a:gd name="T97" fmla="*/ 260 h 313"/>
                <a:gd name="T98" fmla="*/ 16 w 233"/>
                <a:gd name="T99" fmla="*/ 262 h 313"/>
                <a:gd name="T100" fmla="*/ 19 w 233"/>
                <a:gd name="T101" fmla="*/ 257 h 313"/>
                <a:gd name="T102" fmla="*/ 22 w 233"/>
                <a:gd name="T103" fmla="*/ 251 h 313"/>
                <a:gd name="T104" fmla="*/ 20 w 233"/>
                <a:gd name="T105" fmla="*/ 237 h 313"/>
                <a:gd name="T106" fmla="*/ 16 w 233"/>
                <a:gd name="T107" fmla="*/ 226 h 313"/>
                <a:gd name="T108" fmla="*/ 10 w 233"/>
                <a:gd name="T109" fmla="*/ 220 h 313"/>
                <a:gd name="T110" fmla="*/ 0 w 233"/>
                <a:gd name="T111" fmla="*/ 22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3" h="313">
                  <a:moveTo>
                    <a:pt x="125" y="41"/>
                  </a:moveTo>
                  <a:lnTo>
                    <a:pt x="125" y="41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5" y="41"/>
                  </a:lnTo>
                  <a:close/>
                  <a:moveTo>
                    <a:pt x="196" y="240"/>
                  </a:moveTo>
                  <a:lnTo>
                    <a:pt x="196" y="240"/>
                  </a:lnTo>
                  <a:lnTo>
                    <a:pt x="187" y="220"/>
                  </a:lnTo>
                  <a:lnTo>
                    <a:pt x="178" y="199"/>
                  </a:lnTo>
                  <a:lnTo>
                    <a:pt x="168" y="177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1" y="140"/>
                  </a:lnTo>
                  <a:lnTo>
                    <a:pt x="162" y="125"/>
                  </a:lnTo>
                  <a:lnTo>
                    <a:pt x="165" y="91"/>
                  </a:lnTo>
                  <a:lnTo>
                    <a:pt x="171" y="60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1" y="20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5" y="7"/>
                  </a:lnTo>
                  <a:lnTo>
                    <a:pt x="170" y="15"/>
                  </a:lnTo>
                  <a:lnTo>
                    <a:pt x="159" y="29"/>
                  </a:lnTo>
                  <a:lnTo>
                    <a:pt x="150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3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8" y="47"/>
                  </a:lnTo>
                  <a:lnTo>
                    <a:pt x="130" y="5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0" y="112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6" y="9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6" y="63"/>
                  </a:lnTo>
                  <a:lnTo>
                    <a:pt x="138" y="57"/>
                  </a:lnTo>
                  <a:lnTo>
                    <a:pt x="139" y="52"/>
                  </a:lnTo>
                  <a:lnTo>
                    <a:pt x="142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7" y="51"/>
                  </a:lnTo>
                  <a:lnTo>
                    <a:pt x="148" y="52"/>
                  </a:lnTo>
                  <a:lnTo>
                    <a:pt x="151" y="57"/>
                  </a:lnTo>
                  <a:lnTo>
                    <a:pt x="155" y="6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51" y="106"/>
                  </a:lnTo>
                  <a:lnTo>
                    <a:pt x="153" y="140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95"/>
                  </a:lnTo>
                  <a:lnTo>
                    <a:pt x="155" y="228"/>
                  </a:lnTo>
                  <a:lnTo>
                    <a:pt x="158" y="266"/>
                  </a:lnTo>
                  <a:lnTo>
                    <a:pt x="142" y="27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0" y="280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10"/>
                  </a:lnTo>
                  <a:lnTo>
                    <a:pt x="134" y="310"/>
                  </a:lnTo>
                  <a:lnTo>
                    <a:pt x="139" y="311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51" y="313"/>
                  </a:lnTo>
                  <a:lnTo>
                    <a:pt x="159" y="313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96" y="305"/>
                  </a:lnTo>
                  <a:lnTo>
                    <a:pt x="213" y="305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19" y="282"/>
                  </a:lnTo>
                  <a:lnTo>
                    <a:pt x="196" y="240"/>
                  </a:lnTo>
                  <a:lnTo>
                    <a:pt x="196" y="240"/>
                  </a:lnTo>
                  <a:close/>
                  <a:moveTo>
                    <a:pt x="0" y="222"/>
                  </a:moveTo>
                  <a:lnTo>
                    <a:pt x="0" y="222"/>
                  </a:lnTo>
                  <a:lnTo>
                    <a:pt x="7" y="231"/>
                  </a:lnTo>
                  <a:lnTo>
                    <a:pt x="11" y="242"/>
                  </a:lnTo>
                  <a:lnTo>
                    <a:pt x="11" y="246"/>
                  </a:lnTo>
                  <a:lnTo>
                    <a:pt x="11" y="252"/>
                  </a:lnTo>
                  <a:lnTo>
                    <a:pt x="10" y="256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8" y="260"/>
                  </a:lnTo>
                  <a:lnTo>
                    <a:pt x="11" y="262"/>
                  </a:lnTo>
                  <a:lnTo>
                    <a:pt x="16" y="262"/>
                  </a:lnTo>
                  <a:lnTo>
                    <a:pt x="17" y="260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22" y="251"/>
                  </a:lnTo>
                  <a:lnTo>
                    <a:pt x="22" y="242"/>
                  </a:lnTo>
                  <a:lnTo>
                    <a:pt x="20" y="237"/>
                  </a:lnTo>
                  <a:lnTo>
                    <a:pt x="19" y="231"/>
                  </a:lnTo>
                  <a:lnTo>
                    <a:pt x="16" y="226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0" y="222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8C258B-F233-4821-AA85-9B33F7A7664F}"/>
              </a:ext>
            </a:extLst>
          </p:cNvPr>
          <p:cNvGrpSpPr/>
          <p:nvPr/>
        </p:nvGrpSpPr>
        <p:grpSpPr>
          <a:xfrm>
            <a:off x="780283" y="1316599"/>
            <a:ext cx="508466" cy="974906"/>
            <a:chOff x="4300532" y="3905250"/>
            <a:chExt cx="1041399" cy="2289175"/>
          </a:xfrm>
          <a:solidFill>
            <a:srgbClr val="FFFFFF">
              <a:lumMod val="50000"/>
            </a:srgbClr>
          </a:solidFill>
        </p:grpSpPr>
        <p:sp>
          <p:nvSpPr>
            <p:cNvPr id="16" name="Freeform 150">
              <a:extLst>
                <a:ext uri="{FF2B5EF4-FFF2-40B4-BE49-F238E27FC236}">
                  <a16:creationId xmlns:a16="http://schemas.microsoft.com/office/drawing/2014/main" id="{2364A5E4-4B19-4686-9554-FAF05D5EC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0532" y="3905250"/>
              <a:ext cx="1041399" cy="2289175"/>
            </a:xfrm>
            <a:custGeom>
              <a:avLst/>
              <a:gdLst>
                <a:gd name="T0" fmla="*/ 626 w 656"/>
                <a:gd name="T1" fmla="*/ 1372 h 1442"/>
                <a:gd name="T2" fmla="*/ 510 w 656"/>
                <a:gd name="T3" fmla="*/ 1188 h 1442"/>
                <a:gd name="T4" fmla="*/ 468 w 656"/>
                <a:gd name="T5" fmla="*/ 1004 h 1442"/>
                <a:gd name="T6" fmla="*/ 444 w 656"/>
                <a:gd name="T7" fmla="*/ 882 h 1442"/>
                <a:gd name="T8" fmla="*/ 444 w 656"/>
                <a:gd name="T9" fmla="*/ 768 h 1442"/>
                <a:gd name="T10" fmla="*/ 414 w 656"/>
                <a:gd name="T11" fmla="*/ 686 h 1442"/>
                <a:gd name="T12" fmla="*/ 418 w 656"/>
                <a:gd name="T13" fmla="*/ 522 h 1442"/>
                <a:gd name="T14" fmla="*/ 434 w 656"/>
                <a:gd name="T15" fmla="*/ 462 h 1442"/>
                <a:gd name="T16" fmla="*/ 396 w 656"/>
                <a:gd name="T17" fmla="*/ 320 h 1442"/>
                <a:gd name="T18" fmla="*/ 378 w 656"/>
                <a:gd name="T19" fmla="*/ 280 h 1442"/>
                <a:gd name="T20" fmla="*/ 362 w 656"/>
                <a:gd name="T21" fmla="*/ 226 h 1442"/>
                <a:gd name="T22" fmla="*/ 398 w 656"/>
                <a:gd name="T23" fmla="*/ 182 h 1442"/>
                <a:gd name="T24" fmla="*/ 412 w 656"/>
                <a:gd name="T25" fmla="*/ 118 h 1442"/>
                <a:gd name="T26" fmla="*/ 402 w 656"/>
                <a:gd name="T27" fmla="*/ 72 h 1442"/>
                <a:gd name="T28" fmla="*/ 390 w 656"/>
                <a:gd name="T29" fmla="*/ 46 h 1442"/>
                <a:gd name="T30" fmla="*/ 390 w 656"/>
                <a:gd name="T31" fmla="*/ 22 h 1442"/>
                <a:gd name="T32" fmla="*/ 344 w 656"/>
                <a:gd name="T33" fmla="*/ 0 h 1442"/>
                <a:gd name="T34" fmla="*/ 316 w 656"/>
                <a:gd name="T35" fmla="*/ 6 h 1442"/>
                <a:gd name="T36" fmla="*/ 252 w 656"/>
                <a:gd name="T37" fmla="*/ 22 h 1442"/>
                <a:gd name="T38" fmla="*/ 206 w 656"/>
                <a:gd name="T39" fmla="*/ 96 h 1442"/>
                <a:gd name="T40" fmla="*/ 168 w 656"/>
                <a:gd name="T41" fmla="*/ 130 h 1442"/>
                <a:gd name="T42" fmla="*/ 170 w 656"/>
                <a:gd name="T43" fmla="*/ 144 h 1442"/>
                <a:gd name="T44" fmla="*/ 168 w 656"/>
                <a:gd name="T45" fmla="*/ 184 h 1442"/>
                <a:gd name="T46" fmla="*/ 162 w 656"/>
                <a:gd name="T47" fmla="*/ 200 h 1442"/>
                <a:gd name="T48" fmla="*/ 174 w 656"/>
                <a:gd name="T49" fmla="*/ 218 h 1442"/>
                <a:gd name="T50" fmla="*/ 210 w 656"/>
                <a:gd name="T51" fmla="*/ 222 h 1442"/>
                <a:gd name="T52" fmla="*/ 252 w 656"/>
                <a:gd name="T53" fmla="*/ 234 h 1442"/>
                <a:gd name="T54" fmla="*/ 242 w 656"/>
                <a:gd name="T55" fmla="*/ 266 h 1442"/>
                <a:gd name="T56" fmla="*/ 206 w 656"/>
                <a:gd name="T57" fmla="*/ 334 h 1442"/>
                <a:gd name="T58" fmla="*/ 204 w 656"/>
                <a:gd name="T59" fmla="*/ 464 h 1442"/>
                <a:gd name="T60" fmla="*/ 202 w 656"/>
                <a:gd name="T61" fmla="*/ 508 h 1442"/>
                <a:gd name="T62" fmla="*/ 182 w 656"/>
                <a:gd name="T63" fmla="*/ 612 h 1442"/>
                <a:gd name="T64" fmla="*/ 164 w 656"/>
                <a:gd name="T65" fmla="*/ 760 h 1442"/>
                <a:gd name="T66" fmla="*/ 166 w 656"/>
                <a:gd name="T67" fmla="*/ 812 h 1442"/>
                <a:gd name="T68" fmla="*/ 72 w 656"/>
                <a:gd name="T69" fmla="*/ 832 h 1442"/>
                <a:gd name="T70" fmla="*/ 30 w 656"/>
                <a:gd name="T71" fmla="*/ 936 h 1442"/>
                <a:gd name="T72" fmla="*/ 4 w 656"/>
                <a:gd name="T73" fmla="*/ 1096 h 1442"/>
                <a:gd name="T74" fmla="*/ 96 w 656"/>
                <a:gd name="T75" fmla="*/ 1232 h 1442"/>
                <a:gd name="T76" fmla="*/ 74 w 656"/>
                <a:gd name="T77" fmla="*/ 1296 h 1442"/>
                <a:gd name="T78" fmla="*/ 54 w 656"/>
                <a:gd name="T79" fmla="*/ 1348 h 1442"/>
                <a:gd name="T80" fmla="*/ 74 w 656"/>
                <a:gd name="T81" fmla="*/ 1424 h 1442"/>
                <a:gd name="T82" fmla="*/ 84 w 656"/>
                <a:gd name="T83" fmla="*/ 1400 h 1442"/>
                <a:gd name="T84" fmla="*/ 106 w 656"/>
                <a:gd name="T85" fmla="*/ 1382 h 1442"/>
                <a:gd name="T86" fmla="*/ 142 w 656"/>
                <a:gd name="T87" fmla="*/ 1440 h 1442"/>
                <a:gd name="T88" fmla="*/ 224 w 656"/>
                <a:gd name="T89" fmla="*/ 1418 h 1442"/>
                <a:gd name="T90" fmla="*/ 162 w 656"/>
                <a:gd name="T91" fmla="*/ 1384 h 1442"/>
                <a:gd name="T92" fmla="*/ 152 w 656"/>
                <a:gd name="T93" fmla="*/ 1268 h 1442"/>
                <a:gd name="T94" fmla="*/ 262 w 656"/>
                <a:gd name="T95" fmla="*/ 1164 h 1442"/>
                <a:gd name="T96" fmla="*/ 366 w 656"/>
                <a:gd name="T97" fmla="*/ 1100 h 1442"/>
                <a:gd name="T98" fmla="*/ 416 w 656"/>
                <a:gd name="T99" fmla="*/ 1162 h 1442"/>
                <a:gd name="T100" fmla="*/ 484 w 656"/>
                <a:gd name="T101" fmla="*/ 1302 h 1442"/>
                <a:gd name="T102" fmla="*/ 484 w 656"/>
                <a:gd name="T103" fmla="*/ 1370 h 1442"/>
                <a:gd name="T104" fmla="*/ 522 w 656"/>
                <a:gd name="T105" fmla="*/ 1440 h 1442"/>
                <a:gd name="T106" fmla="*/ 514 w 656"/>
                <a:gd name="T107" fmla="*/ 1378 h 1442"/>
                <a:gd name="T108" fmla="*/ 558 w 656"/>
                <a:gd name="T109" fmla="*/ 1406 h 1442"/>
                <a:gd name="T110" fmla="*/ 622 w 656"/>
                <a:gd name="T111" fmla="*/ 1416 h 1442"/>
                <a:gd name="T112" fmla="*/ 650 w 656"/>
                <a:gd name="T113" fmla="*/ 1368 h 1442"/>
                <a:gd name="T114" fmla="*/ 410 w 656"/>
                <a:gd name="T115" fmla="*/ 81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" h="1442">
                  <a:moveTo>
                    <a:pt x="404" y="28"/>
                  </a:moveTo>
                  <a:lnTo>
                    <a:pt x="404" y="28"/>
                  </a:lnTo>
                  <a:lnTo>
                    <a:pt x="404" y="28"/>
                  </a:lnTo>
                  <a:close/>
                  <a:moveTo>
                    <a:pt x="650" y="1368"/>
                  </a:moveTo>
                  <a:lnTo>
                    <a:pt x="650" y="1368"/>
                  </a:lnTo>
                  <a:lnTo>
                    <a:pt x="638" y="1370"/>
                  </a:lnTo>
                  <a:lnTo>
                    <a:pt x="626" y="1372"/>
                  </a:lnTo>
                  <a:lnTo>
                    <a:pt x="604" y="1378"/>
                  </a:lnTo>
                  <a:lnTo>
                    <a:pt x="604" y="1378"/>
                  </a:lnTo>
                  <a:lnTo>
                    <a:pt x="568" y="1320"/>
                  </a:lnTo>
                  <a:lnTo>
                    <a:pt x="550" y="1284"/>
                  </a:lnTo>
                  <a:lnTo>
                    <a:pt x="534" y="1252"/>
                  </a:lnTo>
                  <a:lnTo>
                    <a:pt x="534" y="1252"/>
                  </a:lnTo>
                  <a:lnTo>
                    <a:pt x="510" y="1188"/>
                  </a:lnTo>
                  <a:lnTo>
                    <a:pt x="490" y="1124"/>
                  </a:lnTo>
                  <a:lnTo>
                    <a:pt x="476" y="1072"/>
                  </a:lnTo>
                  <a:lnTo>
                    <a:pt x="470" y="1050"/>
                  </a:lnTo>
                  <a:lnTo>
                    <a:pt x="470" y="1050"/>
                  </a:lnTo>
                  <a:lnTo>
                    <a:pt x="472" y="1042"/>
                  </a:lnTo>
                  <a:lnTo>
                    <a:pt x="472" y="1030"/>
                  </a:lnTo>
                  <a:lnTo>
                    <a:pt x="468" y="1004"/>
                  </a:lnTo>
                  <a:lnTo>
                    <a:pt x="466" y="982"/>
                  </a:lnTo>
                  <a:lnTo>
                    <a:pt x="466" y="974"/>
                  </a:lnTo>
                  <a:lnTo>
                    <a:pt x="466" y="970"/>
                  </a:lnTo>
                  <a:lnTo>
                    <a:pt x="466" y="970"/>
                  </a:lnTo>
                  <a:lnTo>
                    <a:pt x="460" y="940"/>
                  </a:lnTo>
                  <a:lnTo>
                    <a:pt x="452" y="912"/>
                  </a:lnTo>
                  <a:lnTo>
                    <a:pt x="444" y="882"/>
                  </a:lnTo>
                  <a:lnTo>
                    <a:pt x="436" y="852"/>
                  </a:lnTo>
                  <a:lnTo>
                    <a:pt x="460" y="836"/>
                  </a:lnTo>
                  <a:lnTo>
                    <a:pt x="462" y="802"/>
                  </a:lnTo>
                  <a:lnTo>
                    <a:pt x="452" y="786"/>
                  </a:lnTo>
                  <a:lnTo>
                    <a:pt x="452" y="786"/>
                  </a:lnTo>
                  <a:lnTo>
                    <a:pt x="448" y="778"/>
                  </a:lnTo>
                  <a:lnTo>
                    <a:pt x="444" y="768"/>
                  </a:lnTo>
                  <a:lnTo>
                    <a:pt x="430" y="730"/>
                  </a:lnTo>
                  <a:lnTo>
                    <a:pt x="430" y="730"/>
                  </a:lnTo>
                  <a:lnTo>
                    <a:pt x="426" y="718"/>
                  </a:lnTo>
                  <a:lnTo>
                    <a:pt x="424" y="708"/>
                  </a:lnTo>
                  <a:lnTo>
                    <a:pt x="420" y="698"/>
                  </a:lnTo>
                  <a:lnTo>
                    <a:pt x="414" y="686"/>
                  </a:lnTo>
                  <a:lnTo>
                    <a:pt x="414" y="686"/>
                  </a:lnTo>
                  <a:lnTo>
                    <a:pt x="418" y="676"/>
                  </a:lnTo>
                  <a:lnTo>
                    <a:pt x="422" y="662"/>
                  </a:lnTo>
                  <a:lnTo>
                    <a:pt x="424" y="636"/>
                  </a:lnTo>
                  <a:lnTo>
                    <a:pt x="424" y="608"/>
                  </a:lnTo>
                  <a:lnTo>
                    <a:pt x="422" y="578"/>
                  </a:lnTo>
                  <a:lnTo>
                    <a:pt x="418" y="550"/>
                  </a:lnTo>
                  <a:lnTo>
                    <a:pt x="418" y="522"/>
                  </a:lnTo>
                  <a:lnTo>
                    <a:pt x="418" y="494"/>
                  </a:lnTo>
                  <a:lnTo>
                    <a:pt x="420" y="482"/>
                  </a:lnTo>
                  <a:lnTo>
                    <a:pt x="424" y="472"/>
                  </a:lnTo>
                  <a:lnTo>
                    <a:pt x="424" y="472"/>
                  </a:lnTo>
                  <a:lnTo>
                    <a:pt x="428" y="470"/>
                  </a:lnTo>
                  <a:lnTo>
                    <a:pt x="432" y="468"/>
                  </a:lnTo>
                  <a:lnTo>
                    <a:pt x="434" y="462"/>
                  </a:lnTo>
                  <a:lnTo>
                    <a:pt x="436" y="452"/>
                  </a:lnTo>
                  <a:lnTo>
                    <a:pt x="434" y="440"/>
                  </a:lnTo>
                  <a:lnTo>
                    <a:pt x="426" y="416"/>
                  </a:lnTo>
                  <a:lnTo>
                    <a:pt x="418" y="394"/>
                  </a:lnTo>
                  <a:lnTo>
                    <a:pt x="418" y="394"/>
                  </a:lnTo>
                  <a:lnTo>
                    <a:pt x="402" y="340"/>
                  </a:lnTo>
                  <a:lnTo>
                    <a:pt x="396" y="320"/>
                  </a:lnTo>
                  <a:lnTo>
                    <a:pt x="396" y="312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0"/>
                  </a:lnTo>
                  <a:lnTo>
                    <a:pt x="392" y="294"/>
                  </a:lnTo>
                  <a:lnTo>
                    <a:pt x="386" y="286"/>
                  </a:lnTo>
                  <a:lnTo>
                    <a:pt x="378" y="280"/>
                  </a:lnTo>
                  <a:lnTo>
                    <a:pt x="364" y="268"/>
                  </a:lnTo>
                  <a:lnTo>
                    <a:pt x="360" y="260"/>
                  </a:lnTo>
                  <a:lnTo>
                    <a:pt x="358" y="254"/>
                  </a:lnTo>
                  <a:lnTo>
                    <a:pt x="358" y="254"/>
                  </a:lnTo>
                  <a:lnTo>
                    <a:pt x="362" y="238"/>
                  </a:lnTo>
                  <a:lnTo>
                    <a:pt x="362" y="232"/>
                  </a:lnTo>
                  <a:lnTo>
                    <a:pt x="362" y="226"/>
                  </a:lnTo>
                  <a:lnTo>
                    <a:pt x="362" y="226"/>
                  </a:lnTo>
                  <a:lnTo>
                    <a:pt x="364" y="212"/>
                  </a:lnTo>
                  <a:lnTo>
                    <a:pt x="366" y="204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92" y="188"/>
                  </a:lnTo>
                  <a:lnTo>
                    <a:pt x="398" y="182"/>
                  </a:lnTo>
                  <a:lnTo>
                    <a:pt x="400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2" y="170"/>
                  </a:lnTo>
                  <a:lnTo>
                    <a:pt x="406" y="154"/>
                  </a:lnTo>
                  <a:lnTo>
                    <a:pt x="412" y="118"/>
                  </a:lnTo>
                  <a:lnTo>
                    <a:pt x="412" y="118"/>
                  </a:lnTo>
                  <a:lnTo>
                    <a:pt x="412" y="112"/>
                  </a:lnTo>
                  <a:lnTo>
                    <a:pt x="408" y="104"/>
                  </a:lnTo>
                  <a:lnTo>
                    <a:pt x="406" y="100"/>
                  </a:lnTo>
                  <a:lnTo>
                    <a:pt x="406" y="100"/>
                  </a:lnTo>
                  <a:lnTo>
                    <a:pt x="404" y="84"/>
                  </a:lnTo>
                  <a:lnTo>
                    <a:pt x="404" y="84"/>
                  </a:lnTo>
                  <a:lnTo>
                    <a:pt x="402" y="72"/>
                  </a:lnTo>
                  <a:lnTo>
                    <a:pt x="400" y="6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2" y="46"/>
                  </a:lnTo>
                  <a:lnTo>
                    <a:pt x="392" y="46"/>
                  </a:lnTo>
                  <a:lnTo>
                    <a:pt x="390" y="46"/>
                  </a:lnTo>
                  <a:lnTo>
                    <a:pt x="390" y="46"/>
                  </a:lnTo>
                  <a:lnTo>
                    <a:pt x="398" y="40"/>
                  </a:lnTo>
                  <a:lnTo>
                    <a:pt x="404" y="36"/>
                  </a:lnTo>
                  <a:lnTo>
                    <a:pt x="404" y="32"/>
                  </a:lnTo>
                  <a:lnTo>
                    <a:pt x="404" y="28"/>
                  </a:lnTo>
                  <a:lnTo>
                    <a:pt x="404" y="28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84" y="18"/>
                  </a:lnTo>
                  <a:lnTo>
                    <a:pt x="370" y="8"/>
                  </a:lnTo>
                  <a:lnTo>
                    <a:pt x="360" y="4"/>
                  </a:lnTo>
                  <a:lnTo>
                    <a:pt x="352" y="2"/>
                  </a:lnTo>
                  <a:lnTo>
                    <a:pt x="344" y="0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0" y="2"/>
                  </a:lnTo>
                  <a:lnTo>
                    <a:pt x="324" y="4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04" y="6"/>
                  </a:lnTo>
                  <a:lnTo>
                    <a:pt x="292" y="6"/>
                  </a:lnTo>
                  <a:lnTo>
                    <a:pt x="282" y="8"/>
                  </a:lnTo>
                  <a:lnTo>
                    <a:pt x="270" y="10"/>
                  </a:lnTo>
                  <a:lnTo>
                    <a:pt x="260" y="16"/>
                  </a:lnTo>
                  <a:lnTo>
                    <a:pt x="252" y="22"/>
                  </a:lnTo>
                  <a:lnTo>
                    <a:pt x="244" y="30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24" y="58"/>
                  </a:lnTo>
                  <a:lnTo>
                    <a:pt x="21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192" y="120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74" y="138"/>
                  </a:lnTo>
                  <a:lnTo>
                    <a:pt x="170" y="136"/>
                  </a:lnTo>
                  <a:lnTo>
                    <a:pt x="168" y="132"/>
                  </a:lnTo>
                  <a:lnTo>
                    <a:pt x="168" y="130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66" y="128"/>
                  </a:lnTo>
                  <a:lnTo>
                    <a:pt x="164" y="134"/>
                  </a:lnTo>
                  <a:lnTo>
                    <a:pt x="166" y="138"/>
                  </a:lnTo>
                  <a:lnTo>
                    <a:pt x="170" y="144"/>
                  </a:lnTo>
                  <a:lnTo>
                    <a:pt x="178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72" y="160"/>
                  </a:lnTo>
                  <a:lnTo>
                    <a:pt x="168" y="168"/>
                  </a:lnTo>
                  <a:lnTo>
                    <a:pt x="166" y="176"/>
                  </a:lnTo>
                  <a:lnTo>
                    <a:pt x="168" y="184"/>
                  </a:lnTo>
                  <a:lnTo>
                    <a:pt x="170" y="190"/>
                  </a:lnTo>
                  <a:lnTo>
                    <a:pt x="174" y="196"/>
                  </a:lnTo>
                  <a:lnTo>
                    <a:pt x="178" y="200"/>
                  </a:lnTo>
                  <a:lnTo>
                    <a:pt x="178" y="200"/>
                  </a:lnTo>
                  <a:lnTo>
                    <a:pt x="168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72" y="204"/>
                  </a:lnTo>
                  <a:lnTo>
                    <a:pt x="182" y="206"/>
                  </a:lnTo>
                  <a:lnTo>
                    <a:pt x="190" y="204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6" y="220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82" y="222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204" y="224"/>
                  </a:lnTo>
                  <a:lnTo>
                    <a:pt x="204" y="224"/>
                  </a:lnTo>
                  <a:lnTo>
                    <a:pt x="210" y="222"/>
                  </a:lnTo>
                  <a:lnTo>
                    <a:pt x="214" y="220"/>
                  </a:lnTo>
                  <a:lnTo>
                    <a:pt x="218" y="226"/>
                  </a:lnTo>
                  <a:lnTo>
                    <a:pt x="218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50" y="230"/>
                  </a:lnTo>
                  <a:lnTo>
                    <a:pt x="252" y="234"/>
                  </a:lnTo>
                  <a:lnTo>
                    <a:pt x="252" y="240"/>
                  </a:lnTo>
                  <a:lnTo>
                    <a:pt x="254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42" y="266"/>
                  </a:lnTo>
                  <a:lnTo>
                    <a:pt x="230" y="282"/>
                  </a:lnTo>
                  <a:lnTo>
                    <a:pt x="230" y="282"/>
                  </a:lnTo>
                  <a:lnTo>
                    <a:pt x="222" y="292"/>
                  </a:lnTo>
                  <a:lnTo>
                    <a:pt x="216" y="304"/>
                  </a:lnTo>
                  <a:lnTo>
                    <a:pt x="210" y="318"/>
                  </a:lnTo>
                  <a:lnTo>
                    <a:pt x="206" y="334"/>
                  </a:lnTo>
                  <a:lnTo>
                    <a:pt x="206" y="334"/>
                  </a:lnTo>
                  <a:lnTo>
                    <a:pt x="200" y="384"/>
                  </a:lnTo>
                  <a:lnTo>
                    <a:pt x="198" y="406"/>
                  </a:lnTo>
                  <a:lnTo>
                    <a:pt x="200" y="418"/>
                  </a:lnTo>
                  <a:lnTo>
                    <a:pt x="200" y="418"/>
                  </a:lnTo>
                  <a:lnTo>
                    <a:pt x="200" y="442"/>
                  </a:lnTo>
                  <a:lnTo>
                    <a:pt x="204" y="464"/>
                  </a:lnTo>
                  <a:lnTo>
                    <a:pt x="204" y="464"/>
                  </a:lnTo>
                  <a:lnTo>
                    <a:pt x="204" y="488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202" y="510"/>
                  </a:lnTo>
                  <a:lnTo>
                    <a:pt x="202" y="510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198" y="514"/>
                  </a:lnTo>
                  <a:lnTo>
                    <a:pt x="194" y="522"/>
                  </a:lnTo>
                  <a:lnTo>
                    <a:pt x="194" y="522"/>
                  </a:lnTo>
                  <a:lnTo>
                    <a:pt x="188" y="552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2" y="612"/>
                  </a:lnTo>
                  <a:lnTo>
                    <a:pt x="176" y="646"/>
                  </a:lnTo>
                  <a:lnTo>
                    <a:pt x="164" y="710"/>
                  </a:lnTo>
                  <a:lnTo>
                    <a:pt x="164" y="710"/>
                  </a:lnTo>
                  <a:lnTo>
                    <a:pt x="162" y="718"/>
                  </a:lnTo>
                  <a:lnTo>
                    <a:pt x="162" y="724"/>
                  </a:lnTo>
                  <a:lnTo>
                    <a:pt x="166" y="728"/>
                  </a:lnTo>
                  <a:lnTo>
                    <a:pt x="164" y="760"/>
                  </a:lnTo>
                  <a:lnTo>
                    <a:pt x="164" y="760"/>
                  </a:lnTo>
                  <a:lnTo>
                    <a:pt x="168" y="776"/>
                  </a:lnTo>
                  <a:lnTo>
                    <a:pt x="172" y="790"/>
                  </a:lnTo>
                  <a:lnTo>
                    <a:pt x="174" y="790"/>
                  </a:lnTo>
                  <a:lnTo>
                    <a:pt x="174" y="790"/>
                  </a:lnTo>
                  <a:lnTo>
                    <a:pt x="170" y="80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32" y="812"/>
                  </a:lnTo>
                  <a:lnTo>
                    <a:pt x="116" y="814"/>
                  </a:lnTo>
                  <a:lnTo>
                    <a:pt x="102" y="818"/>
                  </a:lnTo>
                  <a:lnTo>
                    <a:pt x="92" y="822"/>
                  </a:lnTo>
                  <a:lnTo>
                    <a:pt x="80" y="826"/>
                  </a:lnTo>
                  <a:lnTo>
                    <a:pt x="72" y="832"/>
                  </a:lnTo>
                  <a:lnTo>
                    <a:pt x="64" y="840"/>
                  </a:lnTo>
                  <a:lnTo>
                    <a:pt x="56" y="848"/>
                  </a:lnTo>
                  <a:lnTo>
                    <a:pt x="50" y="858"/>
                  </a:lnTo>
                  <a:lnTo>
                    <a:pt x="42" y="880"/>
                  </a:lnTo>
                  <a:lnTo>
                    <a:pt x="34" y="906"/>
                  </a:lnTo>
                  <a:lnTo>
                    <a:pt x="30" y="936"/>
                  </a:lnTo>
                  <a:lnTo>
                    <a:pt x="30" y="936"/>
                  </a:lnTo>
                  <a:lnTo>
                    <a:pt x="26" y="960"/>
                  </a:lnTo>
                  <a:lnTo>
                    <a:pt x="20" y="980"/>
                  </a:lnTo>
                  <a:lnTo>
                    <a:pt x="6" y="1020"/>
                  </a:lnTo>
                  <a:lnTo>
                    <a:pt x="2" y="1040"/>
                  </a:lnTo>
                  <a:lnTo>
                    <a:pt x="0" y="1058"/>
                  </a:lnTo>
                  <a:lnTo>
                    <a:pt x="0" y="1078"/>
                  </a:lnTo>
                  <a:lnTo>
                    <a:pt x="4" y="1096"/>
                  </a:lnTo>
                  <a:lnTo>
                    <a:pt x="4" y="1096"/>
                  </a:lnTo>
                  <a:lnTo>
                    <a:pt x="50" y="1116"/>
                  </a:lnTo>
                  <a:lnTo>
                    <a:pt x="98" y="1132"/>
                  </a:lnTo>
                  <a:lnTo>
                    <a:pt x="98" y="1132"/>
                  </a:lnTo>
                  <a:lnTo>
                    <a:pt x="98" y="1164"/>
                  </a:lnTo>
                  <a:lnTo>
                    <a:pt x="96" y="1208"/>
                  </a:lnTo>
                  <a:lnTo>
                    <a:pt x="96" y="1232"/>
                  </a:lnTo>
                  <a:lnTo>
                    <a:pt x="92" y="1256"/>
                  </a:lnTo>
                  <a:lnTo>
                    <a:pt x="88" y="1280"/>
                  </a:lnTo>
                  <a:lnTo>
                    <a:pt x="82" y="1300"/>
                  </a:lnTo>
                  <a:lnTo>
                    <a:pt x="82" y="1300"/>
                  </a:lnTo>
                  <a:lnTo>
                    <a:pt x="78" y="1296"/>
                  </a:lnTo>
                  <a:lnTo>
                    <a:pt x="74" y="1296"/>
                  </a:lnTo>
                  <a:lnTo>
                    <a:pt x="74" y="1296"/>
                  </a:lnTo>
                  <a:lnTo>
                    <a:pt x="70" y="1296"/>
                  </a:lnTo>
                  <a:lnTo>
                    <a:pt x="66" y="1300"/>
                  </a:lnTo>
                  <a:lnTo>
                    <a:pt x="58" y="1312"/>
                  </a:lnTo>
                  <a:lnTo>
                    <a:pt x="54" y="1326"/>
                  </a:lnTo>
                  <a:lnTo>
                    <a:pt x="52" y="1338"/>
                  </a:lnTo>
                  <a:lnTo>
                    <a:pt x="52" y="1338"/>
                  </a:lnTo>
                  <a:lnTo>
                    <a:pt x="54" y="1348"/>
                  </a:lnTo>
                  <a:lnTo>
                    <a:pt x="60" y="1358"/>
                  </a:lnTo>
                  <a:lnTo>
                    <a:pt x="64" y="1370"/>
                  </a:lnTo>
                  <a:lnTo>
                    <a:pt x="68" y="1384"/>
                  </a:lnTo>
                  <a:lnTo>
                    <a:pt x="68" y="1384"/>
                  </a:lnTo>
                  <a:lnTo>
                    <a:pt x="74" y="1410"/>
                  </a:lnTo>
                  <a:lnTo>
                    <a:pt x="74" y="1410"/>
                  </a:lnTo>
                  <a:lnTo>
                    <a:pt x="74" y="1424"/>
                  </a:lnTo>
                  <a:lnTo>
                    <a:pt x="76" y="1430"/>
                  </a:lnTo>
                  <a:lnTo>
                    <a:pt x="78" y="1432"/>
                  </a:lnTo>
                  <a:lnTo>
                    <a:pt x="82" y="1434"/>
                  </a:lnTo>
                  <a:lnTo>
                    <a:pt x="82" y="1434"/>
                  </a:lnTo>
                  <a:lnTo>
                    <a:pt x="84" y="1426"/>
                  </a:lnTo>
                  <a:lnTo>
                    <a:pt x="84" y="1418"/>
                  </a:lnTo>
                  <a:lnTo>
                    <a:pt x="84" y="1400"/>
                  </a:lnTo>
                  <a:lnTo>
                    <a:pt x="84" y="1384"/>
                  </a:lnTo>
                  <a:lnTo>
                    <a:pt x="86" y="1376"/>
                  </a:lnTo>
                  <a:lnTo>
                    <a:pt x="90" y="1372"/>
                  </a:lnTo>
                  <a:lnTo>
                    <a:pt x="90" y="1372"/>
                  </a:lnTo>
                  <a:lnTo>
                    <a:pt x="94" y="1372"/>
                  </a:lnTo>
                  <a:lnTo>
                    <a:pt x="98" y="1374"/>
                  </a:lnTo>
                  <a:lnTo>
                    <a:pt x="106" y="1382"/>
                  </a:lnTo>
                  <a:lnTo>
                    <a:pt x="110" y="1390"/>
                  </a:lnTo>
                  <a:lnTo>
                    <a:pt x="114" y="1402"/>
                  </a:lnTo>
                  <a:lnTo>
                    <a:pt x="122" y="1422"/>
                  </a:lnTo>
                  <a:lnTo>
                    <a:pt x="126" y="1432"/>
                  </a:lnTo>
                  <a:lnTo>
                    <a:pt x="132" y="1438"/>
                  </a:lnTo>
                  <a:lnTo>
                    <a:pt x="132" y="1438"/>
                  </a:lnTo>
                  <a:lnTo>
                    <a:pt x="142" y="1440"/>
                  </a:lnTo>
                  <a:lnTo>
                    <a:pt x="156" y="1442"/>
                  </a:lnTo>
                  <a:lnTo>
                    <a:pt x="174" y="1442"/>
                  </a:lnTo>
                  <a:lnTo>
                    <a:pt x="190" y="1438"/>
                  </a:lnTo>
                  <a:lnTo>
                    <a:pt x="204" y="1434"/>
                  </a:lnTo>
                  <a:lnTo>
                    <a:pt x="216" y="1428"/>
                  </a:lnTo>
                  <a:lnTo>
                    <a:pt x="220" y="1422"/>
                  </a:lnTo>
                  <a:lnTo>
                    <a:pt x="224" y="1418"/>
                  </a:lnTo>
                  <a:lnTo>
                    <a:pt x="224" y="1414"/>
                  </a:lnTo>
                  <a:lnTo>
                    <a:pt x="224" y="1408"/>
                  </a:lnTo>
                  <a:lnTo>
                    <a:pt x="224" y="1408"/>
                  </a:lnTo>
                  <a:lnTo>
                    <a:pt x="176" y="1402"/>
                  </a:lnTo>
                  <a:lnTo>
                    <a:pt x="176" y="1402"/>
                  </a:lnTo>
                  <a:lnTo>
                    <a:pt x="168" y="1394"/>
                  </a:lnTo>
                  <a:lnTo>
                    <a:pt x="162" y="1384"/>
                  </a:lnTo>
                  <a:lnTo>
                    <a:pt x="158" y="1374"/>
                  </a:lnTo>
                  <a:lnTo>
                    <a:pt x="154" y="1364"/>
                  </a:lnTo>
                  <a:lnTo>
                    <a:pt x="148" y="1342"/>
                  </a:lnTo>
                  <a:lnTo>
                    <a:pt x="148" y="1320"/>
                  </a:lnTo>
                  <a:lnTo>
                    <a:pt x="148" y="1300"/>
                  </a:lnTo>
                  <a:lnTo>
                    <a:pt x="150" y="1284"/>
                  </a:lnTo>
                  <a:lnTo>
                    <a:pt x="152" y="1268"/>
                  </a:lnTo>
                  <a:lnTo>
                    <a:pt x="152" y="1268"/>
                  </a:lnTo>
                  <a:lnTo>
                    <a:pt x="160" y="1248"/>
                  </a:lnTo>
                  <a:lnTo>
                    <a:pt x="168" y="1220"/>
                  </a:lnTo>
                  <a:lnTo>
                    <a:pt x="186" y="1156"/>
                  </a:lnTo>
                  <a:lnTo>
                    <a:pt x="186" y="1156"/>
                  </a:lnTo>
                  <a:lnTo>
                    <a:pt x="224" y="1160"/>
                  </a:lnTo>
                  <a:lnTo>
                    <a:pt x="262" y="1164"/>
                  </a:lnTo>
                  <a:lnTo>
                    <a:pt x="300" y="1168"/>
                  </a:lnTo>
                  <a:lnTo>
                    <a:pt x="338" y="1168"/>
                  </a:lnTo>
                  <a:lnTo>
                    <a:pt x="338" y="1168"/>
                  </a:lnTo>
                  <a:lnTo>
                    <a:pt x="350" y="1154"/>
                  </a:lnTo>
                  <a:lnTo>
                    <a:pt x="358" y="1136"/>
                  </a:lnTo>
                  <a:lnTo>
                    <a:pt x="362" y="1118"/>
                  </a:lnTo>
                  <a:lnTo>
                    <a:pt x="366" y="1100"/>
                  </a:lnTo>
                  <a:lnTo>
                    <a:pt x="370" y="1058"/>
                  </a:lnTo>
                  <a:lnTo>
                    <a:pt x="374" y="1038"/>
                  </a:lnTo>
                  <a:lnTo>
                    <a:pt x="380" y="1016"/>
                  </a:lnTo>
                  <a:lnTo>
                    <a:pt x="380" y="1016"/>
                  </a:lnTo>
                  <a:lnTo>
                    <a:pt x="400" y="1104"/>
                  </a:lnTo>
                  <a:lnTo>
                    <a:pt x="410" y="1146"/>
                  </a:lnTo>
                  <a:lnTo>
                    <a:pt x="416" y="1162"/>
                  </a:lnTo>
                  <a:lnTo>
                    <a:pt x="422" y="1172"/>
                  </a:lnTo>
                  <a:lnTo>
                    <a:pt x="422" y="1172"/>
                  </a:lnTo>
                  <a:lnTo>
                    <a:pt x="444" y="1210"/>
                  </a:lnTo>
                  <a:lnTo>
                    <a:pt x="460" y="1246"/>
                  </a:lnTo>
                  <a:lnTo>
                    <a:pt x="474" y="1276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72" y="1316"/>
                  </a:lnTo>
                  <a:lnTo>
                    <a:pt x="468" y="1328"/>
                  </a:lnTo>
                  <a:lnTo>
                    <a:pt x="468" y="1338"/>
                  </a:lnTo>
                  <a:lnTo>
                    <a:pt x="470" y="1350"/>
                  </a:lnTo>
                  <a:lnTo>
                    <a:pt x="476" y="1360"/>
                  </a:lnTo>
                  <a:lnTo>
                    <a:pt x="484" y="1370"/>
                  </a:lnTo>
                  <a:lnTo>
                    <a:pt x="498" y="1392"/>
                  </a:lnTo>
                  <a:lnTo>
                    <a:pt x="498" y="1392"/>
                  </a:lnTo>
                  <a:lnTo>
                    <a:pt x="504" y="1406"/>
                  </a:lnTo>
                  <a:lnTo>
                    <a:pt x="510" y="1420"/>
                  </a:lnTo>
                  <a:lnTo>
                    <a:pt x="514" y="1430"/>
                  </a:lnTo>
                  <a:lnTo>
                    <a:pt x="518" y="1436"/>
                  </a:lnTo>
                  <a:lnTo>
                    <a:pt x="522" y="1440"/>
                  </a:lnTo>
                  <a:lnTo>
                    <a:pt x="522" y="1440"/>
                  </a:lnTo>
                  <a:lnTo>
                    <a:pt x="524" y="1432"/>
                  </a:lnTo>
                  <a:lnTo>
                    <a:pt x="522" y="1422"/>
                  </a:lnTo>
                  <a:lnTo>
                    <a:pt x="516" y="1404"/>
                  </a:lnTo>
                  <a:lnTo>
                    <a:pt x="514" y="1394"/>
                  </a:lnTo>
                  <a:lnTo>
                    <a:pt x="512" y="1386"/>
                  </a:lnTo>
                  <a:lnTo>
                    <a:pt x="514" y="1378"/>
                  </a:lnTo>
                  <a:lnTo>
                    <a:pt x="520" y="1372"/>
                  </a:lnTo>
                  <a:lnTo>
                    <a:pt x="520" y="1372"/>
                  </a:lnTo>
                  <a:lnTo>
                    <a:pt x="528" y="1374"/>
                  </a:lnTo>
                  <a:lnTo>
                    <a:pt x="538" y="1380"/>
                  </a:lnTo>
                  <a:lnTo>
                    <a:pt x="544" y="1388"/>
                  </a:lnTo>
                  <a:lnTo>
                    <a:pt x="552" y="1398"/>
                  </a:lnTo>
                  <a:lnTo>
                    <a:pt x="558" y="1406"/>
                  </a:lnTo>
                  <a:lnTo>
                    <a:pt x="564" y="1416"/>
                  </a:lnTo>
                  <a:lnTo>
                    <a:pt x="574" y="1422"/>
                  </a:lnTo>
                  <a:lnTo>
                    <a:pt x="582" y="1426"/>
                  </a:lnTo>
                  <a:lnTo>
                    <a:pt x="582" y="1426"/>
                  </a:lnTo>
                  <a:lnTo>
                    <a:pt x="594" y="1426"/>
                  </a:lnTo>
                  <a:lnTo>
                    <a:pt x="608" y="1422"/>
                  </a:lnTo>
                  <a:lnTo>
                    <a:pt x="622" y="1416"/>
                  </a:lnTo>
                  <a:lnTo>
                    <a:pt x="636" y="1408"/>
                  </a:lnTo>
                  <a:lnTo>
                    <a:pt x="648" y="1398"/>
                  </a:lnTo>
                  <a:lnTo>
                    <a:pt x="654" y="1388"/>
                  </a:lnTo>
                  <a:lnTo>
                    <a:pt x="656" y="1384"/>
                  </a:lnTo>
                  <a:lnTo>
                    <a:pt x="656" y="1378"/>
                  </a:lnTo>
                  <a:lnTo>
                    <a:pt x="654" y="1374"/>
                  </a:lnTo>
                  <a:lnTo>
                    <a:pt x="650" y="1368"/>
                  </a:lnTo>
                  <a:lnTo>
                    <a:pt x="650" y="1368"/>
                  </a:lnTo>
                  <a:close/>
                  <a:moveTo>
                    <a:pt x="406" y="824"/>
                  </a:moveTo>
                  <a:lnTo>
                    <a:pt x="406" y="824"/>
                  </a:lnTo>
                  <a:lnTo>
                    <a:pt x="406" y="82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2" y="826"/>
                  </a:lnTo>
                  <a:lnTo>
                    <a:pt x="412" y="826"/>
                  </a:lnTo>
                  <a:lnTo>
                    <a:pt x="406" y="824"/>
                  </a:lnTo>
                  <a:lnTo>
                    <a:pt x="406" y="8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7" name="Freeform 151">
              <a:extLst>
                <a:ext uri="{FF2B5EF4-FFF2-40B4-BE49-F238E27FC236}">
                  <a16:creationId xmlns:a16="http://schemas.microsoft.com/office/drawing/2014/main" id="{B8F2E9FF-41C6-4AFE-9635-CC18A6374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0588" y="4273550"/>
              <a:ext cx="304800" cy="317500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EB04074-F5AC-4550-85CD-09C72945F666}"/>
              </a:ext>
            </a:extLst>
          </p:cNvPr>
          <p:cNvSpPr/>
          <p:nvPr/>
        </p:nvSpPr>
        <p:spPr>
          <a:xfrm>
            <a:off x="521749" y="2021219"/>
            <a:ext cx="1945387" cy="1026414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F0209D-E3F0-48EA-8A88-ACA0BDA22C51}"/>
              </a:ext>
            </a:extLst>
          </p:cNvPr>
          <p:cNvSpPr txBox="1"/>
          <p:nvPr/>
        </p:nvSpPr>
        <p:spPr>
          <a:xfrm>
            <a:off x="939232" y="1943783"/>
            <a:ext cx="132860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685783">
              <a:buClrTx/>
            </a:pPr>
            <a:r>
              <a:rPr lang="en-GB" sz="2400" b="1" i="1" kern="1200">
                <a:latin typeface="Georgia" pitchFamily="18" charset="0"/>
                <a:ea typeface="+mn-ea"/>
                <a:cs typeface="Arial" pitchFamily="34" charset="0"/>
              </a:rPr>
              <a:t>1 </a:t>
            </a:r>
            <a:r>
              <a:rPr lang="en-GB" sz="1200" b="1" i="1" kern="1200">
                <a:latin typeface="Georgia" pitchFamily="18" charset="0"/>
                <a:ea typeface="+mn-ea"/>
                <a:cs typeface="Arial" pitchFamily="34" charset="0"/>
              </a:rPr>
              <a:t>Transac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0D8A99F-3CA5-4B86-B2DC-80F5E151A6E2}"/>
              </a:ext>
            </a:extLst>
          </p:cNvPr>
          <p:cNvSpPr txBox="1"/>
          <p:nvPr/>
        </p:nvSpPr>
        <p:spPr>
          <a:xfrm>
            <a:off x="366985" y="2313116"/>
            <a:ext cx="2408822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 defTabSz="685783">
              <a:buClrTx/>
            </a:pPr>
            <a:r>
              <a:rPr lang="en-GB" sz="800" kern="1200" dirty="0">
                <a:latin typeface="Georgia" pitchFamily="18" charset="0"/>
                <a:ea typeface="+mn-ea"/>
                <a:cs typeface="Arial" pitchFamily="34" charset="0"/>
              </a:rPr>
              <a:t>Two parties exchange asset or data: this may be money, medical records, customer details, vendor data or any other asset that can be described in digital form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112B5DC-EE75-48C5-A7EC-87AA40AE0C21}"/>
              </a:ext>
            </a:extLst>
          </p:cNvPr>
          <p:cNvGrpSpPr/>
          <p:nvPr/>
        </p:nvGrpSpPr>
        <p:grpSpPr>
          <a:xfrm>
            <a:off x="3347378" y="1429273"/>
            <a:ext cx="2475761" cy="1618361"/>
            <a:chOff x="332097" y="2428707"/>
            <a:chExt cx="3301015" cy="2157815"/>
          </a:xfrm>
        </p:grpSpPr>
        <p:sp>
          <p:nvSpPr>
            <p:cNvPr id="22" name="Freeform 40">
              <a:extLst>
                <a:ext uri="{FF2B5EF4-FFF2-40B4-BE49-F238E27FC236}">
                  <a16:creationId xmlns:a16="http://schemas.microsoft.com/office/drawing/2014/main" id="{A64ED1A2-4210-44DC-A5DB-D4CB388AE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1829" y="2428707"/>
              <a:ext cx="327135" cy="439455"/>
            </a:xfrm>
            <a:custGeom>
              <a:avLst/>
              <a:gdLst>
                <a:gd name="T0" fmla="*/ 125 w 233"/>
                <a:gd name="T1" fmla="*/ 41 h 313"/>
                <a:gd name="T2" fmla="*/ 125 w 233"/>
                <a:gd name="T3" fmla="*/ 43 h 313"/>
                <a:gd name="T4" fmla="*/ 127 w 233"/>
                <a:gd name="T5" fmla="*/ 43 h 313"/>
                <a:gd name="T6" fmla="*/ 125 w 233"/>
                <a:gd name="T7" fmla="*/ 43 h 313"/>
                <a:gd name="T8" fmla="*/ 125 w 233"/>
                <a:gd name="T9" fmla="*/ 41 h 313"/>
                <a:gd name="T10" fmla="*/ 196 w 233"/>
                <a:gd name="T11" fmla="*/ 240 h 313"/>
                <a:gd name="T12" fmla="*/ 178 w 233"/>
                <a:gd name="T13" fmla="*/ 199 h 313"/>
                <a:gd name="T14" fmla="*/ 162 w 233"/>
                <a:gd name="T15" fmla="*/ 152 h 313"/>
                <a:gd name="T16" fmla="*/ 161 w 233"/>
                <a:gd name="T17" fmla="*/ 140 h 313"/>
                <a:gd name="T18" fmla="*/ 165 w 233"/>
                <a:gd name="T19" fmla="*/ 91 h 313"/>
                <a:gd name="T20" fmla="*/ 178 w 233"/>
                <a:gd name="T21" fmla="*/ 37 h 313"/>
                <a:gd name="T22" fmla="*/ 181 w 233"/>
                <a:gd name="T23" fmla="*/ 20 h 313"/>
                <a:gd name="T24" fmla="*/ 184 w 233"/>
                <a:gd name="T25" fmla="*/ 6 h 313"/>
                <a:gd name="T26" fmla="*/ 178 w 233"/>
                <a:gd name="T27" fmla="*/ 0 h 313"/>
                <a:gd name="T28" fmla="*/ 170 w 233"/>
                <a:gd name="T29" fmla="*/ 15 h 313"/>
                <a:gd name="T30" fmla="*/ 150 w 233"/>
                <a:gd name="T31" fmla="*/ 40 h 313"/>
                <a:gd name="T32" fmla="*/ 142 w 233"/>
                <a:gd name="T33" fmla="*/ 44 h 313"/>
                <a:gd name="T34" fmla="*/ 127 w 233"/>
                <a:gd name="T35" fmla="*/ 43 h 313"/>
                <a:gd name="T36" fmla="*/ 128 w 233"/>
                <a:gd name="T37" fmla="*/ 47 h 313"/>
                <a:gd name="T38" fmla="*/ 130 w 233"/>
                <a:gd name="T39" fmla="*/ 75 h 313"/>
                <a:gd name="T40" fmla="*/ 130 w 233"/>
                <a:gd name="T41" fmla="*/ 112 h 313"/>
                <a:gd name="T42" fmla="*/ 130 w 233"/>
                <a:gd name="T43" fmla="*/ 143 h 313"/>
                <a:gd name="T44" fmla="*/ 139 w 233"/>
                <a:gd name="T45" fmla="*/ 67 h 313"/>
                <a:gd name="T46" fmla="*/ 136 w 233"/>
                <a:gd name="T47" fmla="*/ 63 h 313"/>
                <a:gd name="T48" fmla="*/ 139 w 233"/>
                <a:gd name="T49" fmla="*/ 52 h 313"/>
                <a:gd name="T50" fmla="*/ 144 w 233"/>
                <a:gd name="T51" fmla="*/ 51 h 313"/>
                <a:gd name="T52" fmla="*/ 147 w 233"/>
                <a:gd name="T53" fmla="*/ 51 h 313"/>
                <a:gd name="T54" fmla="*/ 151 w 233"/>
                <a:gd name="T55" fmla="*/ 57 h 313"/>
                <a:gd name="T56" fmla="*/ 148 w 233"/>
                <a:gd name="T57" fmla="*/ 67 h 313"/>
                <a:gd name="T58" fmla="*/ 151 w 233"/>
                <a:gd name="T59" fmla="*/ 106 h 313"/>
                <a:gd name="T60" fmla="*/ 151 w 233"/>
                <a:gd name="T61" fmla="*/ 168 h 313"/>
                <a:gd name="T62" fmla="*/ 151 w 233"/>
                <a:gd name="T63" fmla="*/ 195 h 313"/>
                <a:gd name="T64" fmla="*/ 158 w 233"/>
                <a:gd name="T65" fmla="*/ 266 h 313"/>
                <a:gd name="T66" fmla="*/ 128 w 233"/>
                <a:gd name="T67" fmla="*/ 262 h 313"/>
                <a:gd name="T68" fmla="*/ 130 w 233"/>
                <a:gd name="T69" fmla="*/ 280 h 313"/>
                <a:gd name="T70" fmla="*/ 131 w 233"/>
                <a:gd name="T71" fmla="*/ 305 h 313"/>
                <a:gd name="T72" fmla="*/ 134 w 233"/>
                <a:gd name="T73" fmla="*/ 310 h 313"/>
                <a:gd name="T74" fmla="*/ 145 w 233"/>
                <a:gd name="T75" fmla="*/ 313 h 313"/>
                <a:gd name="T76" fmla="*/ 151 w 233"/>
                <a:gd name="T77" fmla="*/ 313 h 313"/>
                <a:gd name="T78" fmla="*/ 181 w 233"/>
                <a:gd name="T79" fmla="*/ 306 h 313"/>
                <a:gd name="T80" fmla="*/ 196 w 233"/>
                <a:gd name="T81" fmla="*/ 305 h 313"/>
                <a:gd name="T82" fmla="*/ 233 w 233"/>
                <a:gd name="T83" fmla="*/ 306 h 313"/>
                <a:gd name="T84" fmla="*/ 219 w 233"/>
                <a:gd name="T85" fmla="*/ 282 h 313"/>
                <a:gd name="T86" fmla="*/ 196 w 233"/>
                <a:gd name="T87" fmla="*/ 240 h 313"/>
                <a:gd name="T88" fmla="*/ 0 w 233"/>
                <a:gd name="T89" fmla="*/ 222 h 313"/>
                <a:gd name="T90" fmla="*/ 11 w 233"/>
                <a:gd name="T91" fmla="*/ 242 h 313"/>
                <a:gd name="T92" fmla="*/ 11 w 233"/>
                <a:gd name="T93" fmla="*/ 252 h 313"/>
                <a:gd name="T94" fmla="*/ 7 w 233"/>
                <a:gd name="T95" fmla="*/ 260 h 313"/>
                <a:gd name="T96" fmla="*/ 8 w 233"/>
                <a:gd name="T97" fmla="*/ 260 h 313"/>
                <a:gd name="T98" fmla="*/ 16 w 233"/>
                <a:gd name="T99" fmla="*/ 262 h 313"/>
                <a:gd name="T100" fmla="*/ 19 w 233"/>
                <a:gd name="T101" fmla="*/ 257 h 313"/>
                <a:gd name="T102" fmla="*/ 22 w 233"/>
                <a:gd name="T103" fmla="*/ 251 h 313"/>
                <a:gd name="T104" fmla="*/ 20 w 233"/>
                <a:gd name="T105" fmla="*/ 237 h 313"/>
                <a:gd name="T106" fmla="*/ 16 w 233"/>
                <a:gd name="T107" fmla="*/ 226 h 313"/>
                <a:gd name="T108" fmla="*/ 10 w 233"/>
                <a:gd name="T109" fmla="*/ 220 h 313"/>
                <a:gd name="T110" fmla="*/ 0 w 233"/>
                <a:gd name="T111" fmla="*/ 22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3" h="313">
                  <a:moveTo>
                    <a:pt x="125" y="41"/>
                  </a:moveTo>
                  <a:lnTo>
                    <a:pt x="125" y="41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5" y="41"/>
                  </a:lnTo>
                  <a:close/>
                  <a:moveTo>
                    <a:pt x="196" y="240"/>
                  </a:moveTo>
                  <a:lnTo>
                    <a:pt x="196" y="240"/>
                  </a:lnTo>
                  <a:lnTo>
                    <a:pt x="187" y="220"/>
                  </a:lnTo>
                  <a:lnTo>
                    <a:pt x="178" y="199"/>
                  </a:lnTo>
                  <a:lnTo>
                    <a:pt x="168" y="177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1" y="140"/>
                  </a:lnTo>
                  <a:lnTo>
                    <a:pt x="162" y="125"/>
                  </a:lnTo>
                  <a:lnTo>
                    <a:pt x="165" y="91"/>
                  </a:lnTo>
                  <a:lnTo>
                    <a:pt x="171" y="60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1" y="20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5" y="7"/>
                  </a:lnTo>
                  <a:lnTo>
                    <a:pt x="170" y="15"/>
                  </a:lnTo>
                  <a:lnTo>
                    <a:pt x="159" y="29"/>
                  </a:lnTo>
                  <a:lnTo>
                    <a:pt x="150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3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8" y="47"/>
                  </a:lnTo>
                  <a:lnTo>
                    <a:pt x="130" y="5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0" y="112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6" y="9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6" y="63"/>
                  </a:lnTo>
                  <a:lnTo>
                    <a:pt x="138" y="57"/>
                  </a:lnTo>
                  <a:lnTo>
                    <a:pt x="139" y="52"/>
                  </a:lnTo>
                  <a:lnTo>
                    <a:pt x="142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7" y="51"/>
                  </a:lnTo>
                  <a:lnTo>
                    <a:pt x="148" y="52"/>
                  </a:lnTo>
                  <a:lnTo>
                    <a:pt x="151" y="57"/>
                  </a:lnTo>
                  <a:lnTo>
                    <a:pt x="155" y="6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51" y="106"/>
                  </a:lnTo>
                  <a:lnTo>
                    <a:pt x="153" y="140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95"/>
                  </a:lnTo>
                  <a:lnTo>
                    <a:pt x="155" y="228"/>
                  </a:lnTo>
                  <a:lnTo>
                    <a:pt x="158" y="266"/>
                  </a:lnTo>
                  <a:lnTo>
                    <a:pt x="142" y="27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0" y="280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10"/>
                  </a:lnTo>
                  <a:lnTo>
                    <a:pt x="134" y="310"/>
                  </a:lnTo>
                  <a:lnTo>
                    <a:pt x="139" y="311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51" y="313"/>
                  </a:lnTo>
                  <a:lnTo>
                    <a:pt x="159" y="313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96" y="305"/>
                  </a:lnTo>
                  <a:lnTo>
                    <a:pt x="213" y="305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19" y="282"/>
                  </a:lnTo>
                  <a:lnTo>
                    <a:pt x="196" y="240"/>
                  </a:lnTo>
                  <a:lnTo>
                    <a:pt x="196" y="240"/>
                  </a:lnTo>
                  <a:close/>
                  <a:moveTo>
                    <a:pt x="0" y="222"/>
                  </a:moveTo>
                  <a:lnTo>
                    <a:pt x="0" y="222"/>
                  </a:lnTo>
                  <a:lnTo>
                    <a:pt x="7" y="231"/>
                  </a:lnTo>
                  <a:lnTo>
                    <a:pt x="11" y="242"/>
                  </a:lnTo>
                  <a:lnTo>
                    <a:pt x="11" y="246"/>
                  </a:lnTo>
                  <a:lnTo>
                    <a:pt x="11" y="252"/>
                  </a:lnTo>
                  <a:lnTo>
                    <a:pt x="10" y="256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8" y="260"/>
                  </a:lnTo>
                  <a:lnTo>
                    <a:pt x="11" y="262"/>
                  </a:lnTo>
                  <a:lnTo>
                    <a:pt x="16" y="262"/>
                  </a:lnTo>
                  <a:lnTo>
                    <a:pt x="17" y="260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22" y="251"/>
                  </a:lnTo>
                  <a:lnTo>
                    <a:pt x="22" y="242"/>
                  </a:lnTo>
                  <a:lnTo>
                    <a:pt x="20" y="237"/>
                  </a:lnTo>
                  <a:lnTo>
                    <a:pt x="19" y="231"/>
                  </a:lnTo>
                  <a:lnTo>
                    <a:pt x="16" y="226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0" y="222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23" name="Freeform 151">
              <a:extLst>
                <a:ext uri="{FF2B5EF4-FFF2-40B4-BE49-F238E27FC236}">
                  <a16:creationId xmlns:a16="http://schemas.microsoft.com/office/drawing/2014/main" id="{A85DBB85-07A8-4923-9422-78B6700F5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440" y="2487616"/>
              <a:ext cx="198426" cy="180288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BF5AB90-C4FB-4A14-A737-138C814F5036}"/>
                </a:ext>
              </a:extLst>
            </p:cNvPr>
            <p:cNvSpPr/>
            <p:nvPr/>
          </p:nvSpPr>
          <p:spPr>
            <a:xfrm>
              <a:off x="682751" y="3217970"/>
              <a:ext cx="2593849" cy="1368552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04D86F1-0AB8-4A53-A1F4-472A95AF889E}"/>
                </a:ext>
              </a:extLst>
            </p:cNvPr>
            <p:cNvSpPr txBox="1"/>
            <p:nvPr/>
          </p:nvSpPr>
          <p:spPr>
            <a:xfrm>
              <a:off x="1008114" y="3097351"/>
              <a:ext cx="1771478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783">
                <a:buClrTx/>
                <a:defRPr/>
              </a:pPr>
              <a:r>
                <a:rPr lang="en-GB" sz="2400" b="1" i="1" kern="1200">
                  <a:latin typeface="Georgia" pitchFamily="18" charset="0"/>
                  <a:ea typeface="+mn-ea"/>
                  <a:cs typeface="Arial" pitchFamily="34" charset="0"/>
                </a:rPr>
                <a:t>2 </a:t>
              </a:r>
              <a:r>
                <a:rPr lang="en-GB" sz="1200" b="1" i="1" kern="1200">
                  <a:latin typeface="Georgia" pitchFamily="18" charset="0"/>
                  <a:ea typeface="+mn-ea"/>
                  <a:cs typeface="Arial" pitchFamily="34" charset="0"/>
                </a:rPr>
                <a:t>Verifica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FE21876-C38C-4EB3-A16D-4D4A5173CE58}"/>
                </a:ext>
              </a:extLst>
            </p:cNvPr>
            <p:cNvSpPr txBox="1"/>
            <p:nvPr/>
          </p:nvSpPr>
          <p:spPr>
            <a:xfrm>
              <a:off x="332097" y="3607165"/>
              <a:ext cx="3301015" cy="861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just" defTabSz="685783">
                <a:buClrTx/>
                <a:defRPr/>
              </a:pPr>
              <a:r>
                <a:rPr lang="en-GB" sz="1050" kern="1200">
                  <a:latin typeface="Georgia" pitchFamily="18" charset="0"/>
                  <a:ea typeface="+mn-ea"/>
                  <a:cs typeface="Arial" pitchFamily="34" charset="0"/>
                </a:rPr>
                <a:t>Depending upon the condition of smart contract/network parameter, the transaction is either verified instantly and accepted or rejected</a:t>
              </a:r>
            </a:p>
          </p:txBody>
        </p:sp>
      </p:grpSp>
      <p:sp>
        <p:nvSpPr>
          <p:cNvPr id="27" name="Freeform 4899">
            <a:extLst>
              <a:ext uri="{FF2B5EF4-FFF2-40B4-BE49-F238E27FC236}">
                <a16:creationId xmlns:a16="http://schemas.microsoft.com/office/drawing/2014/main" id="{02DC585C-266C-47E1-9A40-DFE33C42AE37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5255050" y="1653899"/>
            <a:ext cx="397106" cy="356149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28" name="Freeform 4994">
            <a:extLst>
              <a:ext uri="{FF2B5EF4-FFF2-40B4-BE49-F238E27FC236}">
                <a16:creationId xmlns:a16="http://schemas.microsoft.com/office/drawing/2014/main" id="{E7C4AF3D-D230-4470-9687-11A204FA5A9D}"/>
              </a:ext>
            </a:extLst>
          </p:cNvPr>
          <p:cNvSpPr>
            <a:spLocks noEditPoints="1"/>
          </p:cNvSpPr>
          <p:nvPr/>
        </p:nvSpPr>
        <p:spPr bwMode="auto">
          <a:xfrm>
            <a:off x="3615305" y="1465347"/>
            <a:ext cx="299081" cy="409925"/>
          </a:xfrm>
          <a:custGeom>
            <a:avLst/>
            <a:gdLst>
              <a:gd name="T0" fmla="*/ 188 w 232"/>
              <a:gd name="T1" fmla="*/ 150 h 308"/>
              <a:gd name="T2" fmla="*/ 178 w 232"/>
              <a:gd name="T3" fmla="*/ 142 h 308"/>
              <a:gd name="T4" fmla="*/ 182 w 232"/>
              <a:gd name="T5" fmla="*/ 126 h 308"/>
              <a:gd name="T6" fmla="*/ 194 w 232"/>
              <a:gd name="T7" fmla="*/ 132 h 308"/>
              <a:gd name="T8" fmla="*/ 232 w 232"/>
              <a:gd name="T9" fmla="*/ 292 h 308"/>
              <a:gd name="T10" fmla="*/ 16 w 232"/>
              <a:gd name="T11" fmla="*/ 308 h 308"/>
              <a:gd name="T12" fmla="*/ 0 w 232"/>
              <a:gd name="T13" fmla="*/ 292 h 308"/>
              <a:gd name="T14" fmla="*/ 10 w 232"/>
              <a:gd name="T15" fmla="*/ 0 h 308"/>
              <a:gd name="T16" fmla="*/ 232 w 232"/>
              <a:gd name="T17" fmla="*/ 82 h 308"/>
              <a:gd name="T18" fmla="*/ 116 w 232"/>
              <a:gd name="T19" fmla="*/ 146 h 308"/>
              <a:gd name="T20" fmla="*/ 136 w 232"/>
              <a:gd name="T21" fmla="*/ 162 h 308"/>
              <a:gd name="T22" fmla="*/ 146 w 232"/>
              <a:gd name="T23" fmla="*/ 166 h 308"/>
              <a:gd name="T24" fmla="*/ 150 w 232"/>
              <a:gd name="T25" fmla="*/ 148 h 308"/>
              <a:gd name="T26" fmla="*/ 158 w 232"/>
              <a:gd name="T27" fmla="*/ 140 h 308"/>
              <a:gd name="T28" fmla="*/ 150 w 232"/>
              <a:gd name="T29" fmla="*/ 116 h 308"/>
              <a:gd name="T30" fmla="*/ 142 w 232"/>
              <a:gd name="T31" fmla="*/ 108 h 308"/>
              <a:gd name="T32" fmla="*/ 134 w 232"/>
              <a:gd name="T33" fmla="*/ 116 h 308"/>
              <a:gd name="T34" fmla="*/ 126 w 232"/>
              <a:gd name="T35" fmla="*/ 114 h 308"/>
              <a:gd name="T36" fmla="*/ 116 w 232"/>
              <a:gd name="T37" fmla="*/ 110 h 308"/>
              <a:gd name="T38" fmla="*/ 116 w 232"/>
              <a:gd name="T39" fmla="*/ 192 h 308"/>
              <a:gd name="T40" fmla="*/ 24 w 232"/>
              <a:gd name="T41" fmla="*/ 198 h 308"/>
              <a:gd name="T42" fmla="*/ 28 w 232"/>
              <a:gd name="T43" fmla="*/ 208 h 308"/>
              <a:gd name="T44" fmla="*/ 122 w 232"/>
              <a:gd name="T45" fmla="*/ 206 h 308"/>
              <a:gd name="T46" fmla="*/ 122 w 232"/>
              <a:gd name="T47" fmla="*/ 196 h 308"/>
              <a:gd name="T48" fmla="*/ 54 w 232"/>
              <a:gd name="T49" fmla="*/ 138 h 308"/>
              <a:gd name="T50" fmla="*/ 78 w 232"/>
              <a:gd name="T51" fmla="*/ 166 h 308"/>
              <a:gd name="T52" fmla="*/ 104 w 232"/>
              <a:gd name="T53" fmla="*/ 138 h 308"/>
              <a:gd name="T54" fmla="*/ 78 w 232"/>
              <a:gd name="T55" fmla="*/ 108 h 308"/>
              <a:gd name="T56" fmla="*/ 54 w 232"/>
              <a:gd name="T57" fmla="*/ 138 h 308"/>
              <a:gd name="T58" fmla="*/ 30 w 232"/>
              <a:gd name="T59" fmla="*/ 158 h 308"/>
              <a:gd name="T60" fmla="*/ 38 w 232"/>
              <a:gd name="T61" fmla="*/ 166 h 308"/>
              <a:gd name="T62" fmla="*/ 46 w 232"/>
              <a:gd name="T63" fmla="*/ 158 h 308"/>
              <a:gd name="T64" fmla="*/ 40 w 232"/>
              <a:gd name="T65" fmla="*/ 110 h 308"/>
              <a:gd name="T66" fmla="*/ 20 w 232"/>
              <a:gd name="T67" fmla="*/ 124 h 308"/>
              <a:gd name="T68" fmla="*/ 208 w 232"/>
              <a:gd name="T69" fmla="*/ 278 h 308"/>
              <a:gd name="T70" fmla="*/ 200 w 232"/>
              <a:gd name="T71" fmla="*/ 270 h 308"/>
              <a:gd name="T72" fmla="*/ 24 w 232"/>
              <a:gd name="T73" fmla="*/ 276 h 308"/>
              <a:gd name="T74" fmla="*/ 28 w 232"/>
              <a:gd name="T75" fmla="*/ 286 h 308"/>
              <a:gd name="T76" fmla="*/ 206 w 232"/>
              <a:gd name="T77" fmla="*/ 284 h 308"/>
              <a:gd name="T78" fmla="*/ 208 w 232"/>
              <a:gd name="T79" fmla="*/ 240 h 308"/>
              <a:gd name="T80" fmla="*/ 32 w 232"/>
              <a:gd name="T81" fmla="*/ 232 h 308"/>
              <a:gd name="T82" fmla="*/ 24 w 232"/>
              <a:gd name="T83" fmla="*/ 240 h 308"/>
              <a:gd name="T84" fmla="*/ 32 w 232"/>
              <a:gd name="T85" fmla="*/ 248 h 308"/>
              <a:gd name="T86" fmla="*/ 208 w 232"/>
              <a:gd name="T87" fmla="*/ 242 h 308"/>
              <a:gd name="T88" fmla="*/ 208 w 232"/>
              <a:gd name="T89" fmla="*/ 126 h 308"/>
              <a:gd name="T90" fmla="*/ 176 w 232"/>
              <a:gd name="T91" fmla="*/ 110 h 308"/>
              <a:gd name="T92" fmla="*/ 162 w 232"/>
              <a:gd name="T93" fmla="*/ 148 h 308"/>
              <a:gd name="T94" fmla="*/ 196 w 232"/>
              <a:gd name="T95" fmla="*/ 164 h 308"/>
              <a:gd name="T96" fmla="*/ 216 w 232"/>
              <a:gd name="T97" fmla="*/ 86 h 308"/>
              <a:gd name="T98" fmla="*/ 156 w 232"/>
              <a:gd name="T99" fmla="*/ 86 h 308"/>
              <a:gd name="T100" fmla="*/ 84 w 232"/>
              <a:gd name="T101" fmla="*/ 146 h 308"/>
              <a:gd name="T102" fmla="*/ 84 w 232"/>
              <a:gd name="T103" fmla="*/ 128 h 308"/>
              <a:gd name="T104" fmla="*/ 72 w 232"/>
              <a:gd name="T105" fmla="*/ 128 h 308"/>
              <a:gd name="T106" fmla="*/ 72 w 232"/>
              <a:gd name="T107" fmla="*/ 146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308">
                <a:moveTo>
                  <a:pt x="194" y="138"/>
                </a:moveTo>
                <a:lnTo>
                  <a:pt x="194" y="138"/>
                </a:lnTo>
                <a:lnTo>
                  <a:pt x="194" y="142"/>
                </a:lnTo>
                <a:lnTo>
                  <a:pt x="192" y="146"/>
                </a:lnTo>
                <a:lnTo>
                  <a:pt x="188" y="150"/>
                </a:lnTo>
                <a:lnTo>
                  <a:pt x="186" y="150"/>
                </a:lnTo>
                <a:lnTo>
                  <a:pt x="186" y="150"/>
                </a:lnTo>
                <a:lnTo>
                  <a:pt x="182" y="150"/>
                </a:lnTo>
                <a:lnTo>
                  <a:pt x="180" y="146"/>
                </a:lnTo>
                <a:lnTo>
                  <a:pt x="178" y="142"/>
                </a:lnTo>
                <a:lnTo>
                  <a:pt x="178" y="138"/>
                </a:lnTo>
                <a:lnTo>
                  <a:pt x="178" y="138"/>
                </a:lnTo>
                <a:lnTo>
                  <a:pt x="178" y="132"/>
                </a:lnTo>
                <a:lnTo>
                  <a:pt x="180" y="128"/>
                </a:lnTo>
                <a:lnTo>
                  <a:pt x="182" y="126"/>
                </a:lnTo>
                <a:lnTo>
                  <a:pt x="186" y="124"/>
                </a:lnTo>
                <a:lnTo>
                  <a:pt x="186" y="124"/>
                </a:lnTo>
                <a:lnTo>
                  <a:pt x="188" y="126"/>
                </a:lnTo>
                <a:lnTo>
                  <a:pt x="192" y="128"/>
                </a:lnTo>
                <a:lnTo>
                  <a:pt x="194" y="132"/>
                </a:lnTo>
                <a:lnTo>
                  <a:pt x="194" y="138"/>
                </a:lnTo>
                <a:lnTo>
                  <a:pt x="194" y="138"/>
                </a:lnTo>
                <a:close/>
                <a:moveTo>
                  <a:pt x="232" y="82"/>
                </a:moveTo>
                <a:lnTo>
                  <a:pt x="232" y="292"/>
                </a:lnTo>
                <a:lnTo>
                  <a:pt x="232" y="292"/>
                </a:lnTo>
                <a:lnTo>
                  <a:pt x="230" y="298"/>
                </a:lnTo>
                <a:lnTo>
                  <a:pt x="226" y="304"/>
                </a:lnTo>
                <a:lnTo>
                  <a:pt x="222" y="308"/>
                </a:lnTo>
                <a:lnTo>
                  <a:pt x="216" y="308"/>
                </a:lnTo>
                <a:lnTo>
                  <a:pt x="16" y="308"/>
                </a:lnTo>
                <a:lnTo>
                  <a:pt x="16" y="308"/>
                </a:lnTo>
                <a:lnTo>
                  <a:pt x="10" y="308"/>
                </a:lnTo>
                <a:lnTo>
                  <a:pt x="6" y="304"/>
                </a:lnTo>
                <a:lnTo>
                  <a:pt x="2" y="298"/>
                </a:lnTo>
                <a:lnTo>
                  <a:pt x="0" y="292"/>
                </a:lnTo>
                <a:lnTo>
                  <a:pt x="0" y="16"/>
                </a:lnTo>
                <a:lnTo>
                  <a:pt x="0" y="16"/>
                </a:lnTo>
                <a:lnTo>
                  <a:pt x="2" y="10"/>
                </a:lnTo>
                <a:lnTo>
                  <a:pt x="6" y="4"/>
                </a:lnTo>
                <a:lnTo>
                  <a:pt x="10" y="0"/>
                </a:lnTo>
                <a:lnTo>
                  <a:pt x="16" y="0"/>
                </a:lnTo>
                <a:lnTo>
                  <a:pt x="150" y="0"/>
                </a:lnTo>
                <a:lnTo>
                  <a:pt x="166" y="16"/>
                </a:lnTo>
                <a:lnTo>
                  <a:pt x="214" y="66"/>
                </a:lnTo>
                <a:lnTo>
                  <a:pt x="232" y="82"/>
                </a:lnTo>
                <a:close/>
                <a:moveTo>
                  <a:pt x="110" y="140"/>
                </a:moveTo>
                <a:lnTo>
                  <a:pt x="110" y="140"/>
                </a:lnTo>
                <a:lnTo>
                  <a:pt x="110" y="142"/>
                </a:lnTo>
                <a:lnTo>
                  <a:pt x="112" y="146"/>
                </a:lnTo>
                <a:lnTo>
                  <a:pt x="116" y="146"/>
                </a:lnTo>
                <a:lnTo>
                  <a:pt x="118" y="148"/>
                </a:lnTo>
                <a:lnTo>
                  <a:pt x="134" y="148"/>
                </a:lnTo>
                <a:lnTo>
                  <a:pt x="134" y="158"/>
                </a:lnTo>
                <a:lnTo>
                  <a:pt x="134" y="158"/>
                </a:lnTo>
                <a:lnTo>
                  <a:pt x="136" y="162"/>
                </a:lnTo>
                <a:lnTo>
                  <a:pt x="136" y="164"/>
                </a:lnTo>
                <a:lnTo>
                  <a:pt x="140" y="166"/>
                </a:lnTo>
                <a:lnTo>
                  <a:pt x="142" y="166"/>
                </a:lnTo>
                <a:lnTo>
                  <a:pt x="142" y="166"/>
                </a:lnTo>
                <a:lnTo>
                  <a:pt x="146" y="166"/>
                </a:lnTo>
                <a:lnTo>
                  <a:pt x="148" y="164"/>
                </a:lnTo>
                <a:lnTo>
                  <a:pt x="150" y="162"/>
                </a:lnTo>
                <a:lnTo>
                  <a:pt x="150" y="158"/>
                </a:lnTo>
                <a:lnTo>
                  <a:pt x="150" y="148"/>
                </a:lnTo>
                <a:lnTo>
                  <a:pt x="150" y="148"/>
                </a:lnTo>
                <a:lnTo>
                  <a:pt x="154" y="146"/>
                </a:lnTo>
                <a:lnTo>
                  <a:pt x="156" y="146"/>
                </a:lnTo>
                <a:lnTo>
                  <a:pt x="158" y="142"/>
                </a:lnTo>
                <a:lnTo>
                  <a:pt x="158" y="140"/>
                </a:lnTo>
                <a:lnTo>
                  <a:pt x="158" y="140"/>
                </a:lnTo>
                <a:lnTo>
                  <a:pt x="158" y="136"/>
                </a:lnTo>
                <a:lnTo>
                  <a:pt x="156" y="134"/>
                </a:lnTo>
                <a:lnTo>
                  <a:pt x="154" y="132"/>
                </a:lnTo>
                <a:lnTo>
                  <a:pt x="150" y="132"/>
                </a:lnTo>
                <a:lnTo>
                  <a:pt x="150" y="116"/>
                </a:lnTo>
                <a:lnTo>
                  <a:pt x="150" y="116"/>
                </a:lnTo>
                <a:lnTo>
                  <a:pt x="150" y="114"/>
                </a:lnTo>
                <a:lnTo>
                  <a:pt x="148" y="110"/>
                </a:lnTo>
                <a:lnTo>
                  <a:pt x="146" y="110"/>
                </a:lnTo>
                <a:lnTo>
                  <a:pt x="142" y="108"/>
                </a:lnTo>
                <a:lnTo>
                  <a:pt x="142" y="108"/>
                </a:lnTo>
                <a:lnTo>
                  <a:pt x="140" y="110"/>
                </a:lnTo>
                <a:lnTo>
                  <a:pt x="136" y="110"/>
                </a:lnTo>
                <a:lnTo>
                  <a:pt x="136" y="114"/>
                </a:lnTo>
                <a:lnTo>
                  <a:pt x="134" y="116"/>
                </a:lnTo>
                <a:lnTo>
                  <a:pt x="134" y="132"/>
                </a:lnTo>
                <a:lnTo>
                  <a:pt x="126" y="132"/>
                </a:lnTo>
                <a:lnTo>
                  <a:pt x="126" y="116"/>
                </a:lnTo>
                <a:lnTo>
                  <a:pt x="126" y="116"/>
                </a:lnTo>
                <a:lnTo>
                  <a:pt x="126" y="114"/>
                </a:lnTo>
                <a:lnTo>
                  <a:pt x="124" y="110"/>
                </a:lnTo>
                <a:lnTo>
                  <a:pt x="122" y="110"/>
                </a:lnTo>
                <a:lnTo>
                  <a:pt x="118" y="108"/>
                </a:lnTo>
                <a:lnTo>
                  <a:pt x="118" y="108"/>
                </a:lnTo>
                <a:lnTo>
                  <a:pt x="116" y="110"/>
                </a:lnTo>
                <a:lnTo>
                  <a:pt x="112" y="110"/>
                </a:lnTo>
                <a:lnTo>
                  <a:pt x="110" y="114"/>
                </a:lnTo>
                <a:lnTo>
                  <a:pt x="110" y="116"/>
                </a:lnTo>
                <a:lnTo>
                  <a:pt x="110" y="140"/>
                </a:lnTo>
                <a:close/>
                <a:moveTo>
                  <a:pt x="116" y="192"/>
                </a:moveTo>
                <a:lnTo>
                  <a:pt x="32" y="192"/>
                </a:lnTo>
                <a:lnTo>
                  <a:pt x="32" y="192"/>
                </a:lnTo>
                <a:lnTo>
                  <a:pt x="28" y="194"/>
                </a:lnTo>
                <a:lnTo>
                  <a:pt x="26" y="196"/>
                </a:lnTo>
                <a:lnTo>
                  <a:pt x="24" y="198"/>
                </a:lnTo>
                <a:lnTo>
                  <a:pt x="24" y="200"/>
                </a:lnTo>
                <a:lnTo>
                  <a:pt x="24" y="200"/>
                </a:lnTo>
                <a:lnTo>
                  <a:pt x="24" y="204"/>
                </a:lnTo>
                <a:lnTo>
                  <a:pt x="26" y="206"/>
                </a:lnTo>
                <a:lnTo>
                  <a:pt x="28" y="208"/>
                </a:lnTo>
                <a:lnTo>
                  <a:pt x="32" y="208"/>
                </a:lnTo>
                <a:lnTo>
                  <a:pt x="116" y="208"/>
                </a:lnTo>
                <a:lnTo>
                  <a:pt x="116" y="208"/>
                </a:lnTo>
                <a:lnTo>
                  <a:pt x="120" y="208"/>
                </a:lnTo>
                <a:lnTo>
                  <a:pt x="122" y="206"/>
                </a:lnTo>
                <a:lnTo>
                  <a:pt x="124" y="204"/>
                </a:lnTo>
                <a:lnTo>
                  <a:pt x="124" y="200"/>
                </a:lnTo>
                <a:lnTo>
                  <a:pt x="124" y="200"/>
                </a:lnTo>
                <a:lnTo>
                  <a:pt x="124" y="198"/>
                </a:lnTo>
                <a:lnTo>
                  <a:pt x="122" y="196"/>
                </a:lnTo>
                <a:lnTo>
                  <a:pt x="120" y="194"/>
                </a:lnTo>
                <a:lnTo>
                  <a:pt x="116" y="192"/>
                </a:lnTo>
                <a:lnTo>
                  <a:pt x="116" y="192"/>
                </a:lnTo>
                <a:close/>
                <a:moveTo>
                  <a:pt x="54" y="138"/>
                </a:moveTo>
                <a:lnTo>
                  <a:pt x="54" y="138"/>
                </a:lnTo>
                <a:lnTo>
                  <a:pt x="56" y="148"/>
                </a:lnTo>
                <a:lnTo>
                  <a:pt x="62" y="158"/>
                </a:lnTo>
                <a:lnTo>
                  <a:pt x="70" y="164"/>
                </a:lnTo>
                <a:lnTo>
                  <a:pt x="78" y="166"/>
                </a:lnTo>
                <a:lnTo>
                  <a:pt x="78" y="166"/>
                </a:lnTo>
                <a:lnTo>
                  <a:pt x="88" y="164"/>
                </a:lnTo>
                <a:lnTo>
                  <a:pt x="96" y="158"/>
                </a:lnTo>
                <a:lnTo>
                  <a:pt x="102" y="148"/>
                </a:lnTo>
                <a:lnTo>
                  <a:pt x="104" y="138"/>
                </a:lnTo>
                <a:lnTo>
                  <a:pt x="104" y="138"/>
                </a:lnTo>
                <a:lnTo>
                  <a:pt x="102" y="126"/>
                </a:lnTo>
                <a:lnTo>
                  <a:pt x="96" y="118"/>
                </a:lnTo>
                <a:lnTo>
                  <a:pt x="88" y="110"/>
                </a:lnTo>
                <a:lnTo>
                  <a:pt x="78" y="108"/>
                </a:lnTo>
                <a:lnTo>
                  <a:pt x="78" y="108"/>
                </a:lnTo>
                <a:lnTo>
                  <a:pt x="70" y="110"/>
                </a:lnTo>
                <a:lnTo>
                  <a:pt x="62" y="118"/>
                </a:lnTo>
                <a:lnTo>
                  <a:pt x="56" y="126"/>
                </a:lnTo>
                <a:lnTo>
                  <a:pt x="54" y="138"/>
                </a:lnTo>
                <a:lnTo>
                  <a:pt x="54" y="138"/>
                </a:lnTo>
                <a:close/>
                <a:moveTo>
                  <a:pt x="22" y="132"/>
                </a:moveTo>
                <a:lnTo>
                  <a:pt x="22" y="132"/>
                </a:lnTo>
                <a:lnTo>
                  <a:pt x="24" y="134"/>
                </a:lnTo>
                <a:lnTo>
                  <a:pt x="30" y="134"/>
                </a:lnTo>
                <a:lnTo>
                  <a:pt x="30" y="158"/>
                </a:lnTo>
                <a:lnTo>
                  <a:pt x="30" y="158"/>
                </a:lnTo>
                <a:lnTo>
                  <a:pt x="30" y="162"/>
                </a:lnTo>
                <a:lnTo>
                  <a:pt x="32" y="164"/>
                </a:lnTo>
                <a:lnTo>
                  <a:pt x="34" y="166"/>
                </a:lnTo>
                <a:lnTo>
                  <a:pt x="38" y="166"/>
                </a:lnTo>
                <a:lnTo>
                  <a:pt x="38" y="166"/>
                </a:lnTo>
                <a:lnTo>
                  <a:pt x="40" y="166"/>
                </a:lnTo>
                <a:lnTo>
                  <a:pt x="42" y="164"/>
                </a:lnTo>
                <a:lnTo>
                  <a:pt x="44" y="162"/>
                </a:lnTo>
                <a:lnTo>
                  <a:pt x="46" y="158"/>
                </a:lnTo>
                <a:lnTo>
                  <a:pt x="46" y="116"/>
                </a:lnTo>
                <a:lnTo>
                  <a:pt x="46" y="116"/>
                </a:lnTo>
                <a:lnTo>
                  <a:pt x="44" y="112"/>
                </a:lnTo>
                <a:lnTo>
                  <a:pt x="40" y="110"/>
                </a:lnTo>
                <a:lnTo>
                  <a:pt x="40" y="110"/>
                </a:lnTo>
                <a:lnTo>
                  <a:pt x="36" y="108"/>
                </a:lnTo>
                <a:lnTo>
                  <a:pt x="32" y="110"/>
                </a:lnTo>
                <a:lnTo>
                  <a:pt x="22" y="122"/>
                </a:lnTo>
                <a:lnTo>
                  <a:pt x="22" y="122"/>
                </a:lnTo>
                <a:lnTo>
                  <a:pt x="20" y="124"/>
                </a:lnTo>
                <a:lnTo>
                  <a:pt x="18" y="128"/>
                </a:lnTo>
                <a:lnTo>
                  <a:pt x="20" y="130"/>
                </a:lnTo>
                <a:lnTo>
                  <a:pt x="22" y="132"/>
                </a:lnTo>
                <a:lnTo>
                  <a:pt x="22" y="132"/>
                </a:lnTo>
                <a:close/>
                <a:moveTo>
                  <a:pt x="208" y="278"/>
                </a:moveTo>
                <a:lnTo>
                  <a:pt x="208" y="278"/>
                </a:lnTo>
                <a:lnTo>
                  <a:pt x="208" y="276"/>
                </a:lnTo>
                <a:lnTo>
                  <a:pt x="206" y="272"/>
                </a:lnTo>
                <a:lnTo>
                  <a:pt x="204" y="270"/>
                </a:lnTo>
                <a:lnTo>
                  <a:pt x="200" y="270"/>
                </a:lnTo>
                <a:lnTo>
                  <a:pt x="32" y="270"/>
                </a:lnTo>
                <a:lnTo>
                  <a:pt x="32" y="270"/>
                </a:lnTo>
                <a:lnTo>
                  <a:pt x="28" y="270"/>
                </a:lnTo>
                <a:lnTo>
                  <a:pt x="26" y="272"/>
                </a:lnTo>
                <a:lnTo>
                  <a:pt x="24" y="276"/>
                </a:lnTo>
                <a:lnTo>
                  <a:pt x="24" y="278"/>
                </a:lnTo>
                <a:lnTo>
                  <a:pt x="24" y="278"/>
                </a:lnTo>
                <a:lnTo>
                  <a:pt x="24" y="282"/>
                </a:lnTo>
                <a:lnTo>
                  <a:pt x="26" y="284"/>
                </a:lnTo>
                <a:lnTo>
                  <a:pt x="28" y="286"/>
                </a:lnTo>
                <a:lnTo>
                  <a:pt x="32" y="286"/>
                </a:lnTo>
                <a:lnTo>
                  <a:pt x="200" y="286"/>
                </a:lnTo>
                <a:lnTo>
                  <a:pt x="200" y="286"/>
                </a:lnTo>
                <a:lnTo>
                  <a:pt x="204" y="286"/>
                </a:lnTo>
                <a:lnTo>
                  <a:pt x="206" y="284"/>
                </a:lnTo>
                <a:lnTo>
                  <a:pt x="208" y="282"/>
                </a:lnTo>
                <a:lnTo>
                  <a:pt x="208" y="278"/>
                </a:lnTo>
                <a:lnTo>
                  <a:pt x="208" y="278"/>
                </a:lnTo>
                <a:close/>
                <a:moveTo>
                  <a:pt x="208" y="240"/>
                </a:moveTo>
                <a:lnTo>
                  <a:pt x="208" y="240"/>
                </a:lnTo>
                <a:lnTo>
                  <a:pt x="208" y="236"/>
                </a:lnTo>
                <a:lnTo>
                  <a:pt x="206" y="234"/>
                </a:lnTo>
                <a:lnTo>
                  <a:pt x="204" y="232"/>
                </a:lnTo>
                <a:lnTo>
                  <a:pt x="200" y="232"/>
                </a:lnTo>
                <a:lnTo>
                  <a:pt x="32" y="232"/>
                </a:lnTo>
                <a:lnTo>
                  <a:pt x="32" y="232"/>
                </a:lnTo>
                <a:lnTo>
                  <a:pt x="28" y="232"/>
                </a:lnTo>
                <a:lnTo>
                  <a:pt x="26" y="234"/>
                </a:lnTo>
                <a:lnTo>
                  <a:pt x="24" y="236"/>
                </a:lnTo>
                <a:lnTo>
                  <a:pt x="24" y="240"/>
                </a:lnTo>
                <a:lnTo>
                  <a:pt x="24" y="240"/>
                </a:lnTo>
                <a:lnTo>
                  <a:pt x="24" y="242"/>
                </a:lnTo>
                <a:lnTo>
                  <a:pt x="26" y="246"/>
                </a:lnTo>
                <a:lnTo>
                  <a:pt x="28" y="246"/>
                </a:lnTo>
                <a:lnTo>
                  <a:pt x="32" y="248"/>
                </a:lnTo>
                <a:lnTo>
                  <a:pt x="200" y="248"/>
                </a:lnTo>
                <a:lnTo>
                  <a:pt x="200" y="248"/>
                </a:lnTo>
                <a:lnTo>
                  <a:pt x="204" y="246"/>
                </a:lnTo>
                <a:lnTo>
                  <a:pt x="206" y="246"/>
                </a:lnTo>
                <a:lnTo>
                  <a:pt x="208" y="242"/>
                </a:lnTo>
                <a:lnTo>
                  <a:pt x="208" y="240"/>
                </a:lnTo>
                <a:lnTo>
                  <a:pt x="208" y="240"/>
                </a:lnTo>
                <a:close/>
                <a:moveTo>
                  <a:pt x="210" y="138"/>
                </a:moveTo>
                <a:lnTo>
                  <a:pt x="210" y="138"/>
                </a:lnTo>
                <a:lnTo>
                  <a:pt x="208" y="126"/>
                </a:lnTo>
                <a:lnTo>
                  <a:pt x="202" y="118"/>
                </a:lnTo>
                <a:lnTo>
                  <a:pt x="196" y="110"/>
                </a:lnTo>
                <a:lnTo>
                  <a:pt x="186" y="108"/>
                </a:lnTo>
                <a:lnTo>
                  <a:pt x="186" y="108"/>
                </a:lnTo>
                <a:lnTo>
                  <a:pt x="176" y="110"/>
                </a:lnTo>
                <a:lnTo>
                  <a:pt x="168" y="118"/>
                </a:lnTo>
                <a:lnTo>
                  <a:pt x="162" y="126"/>
                </a:lnTo>
                <a:lnTo>
                  <a:pt x="162" y="138"/>
                </a:lnTo>
                <a:lnTo>
                  <a:pt x="162" y="138"/>
                </a:lnTo>
                <a:lnTo>
                  <a:pt x="162" y="148"/>
                </a:lnTo>
                <a:lnTo>
                  <a:pt x="168" y="158"/>
                </a:lnTo>
                <a:lnTo>
                  <a:pt x="176" y="164"/>
                </a:lnTo>
                <a:lnTo>
                  <a:pt x="186" y="166"/>
                </a:lnTo>
                <a:lnTo>
                  <a:pt x="186" y="166"/>
                </a:lnTo>
                <a:lnTo>
                  <a:pt x="196" y="164"/>
                </a:lnTo>
                <a:lnTo>
                  <a:pt x="202" y="158"/>
                </a:lnTo>
                <a:lnTo>
                  <a:pt x="208" y="148"/>
                </a:lnTo>
                <a:lnTo>
                  <a:pt x="210" y="138"/>
                </a:lnTo>
                <a:lnTo>
                  <a:pt x="210" y="138"/>
                </a:lnTo>
                <a:close/>
                <a:moveTo>
                  <a:pt x="216" y="86"/>
                </a:moveTo>
                <a:lnTo>
                  <a:pt x="198" y="68"/>
                </a:lnTo>
                <a:lnTo>
                  <a:pt x="174" y="68"/>
                </a:lnTo>
                <a:lnTo>
                  <a:pt x="174" y="44"/>
                </a:lnTo>
                <a:lnTo>
                  <a:pt x="156" y="26"/>
                </a:lnTo>
                <a:lnTo>
                  <a:pt x="156" y="86"/>
                </a:lnTo>
                <a:lnTo>
                  <a:pt x="216" y="86"/>
                </a:lnTo>
                <a:close/>
                <a:moveTo>
                  <a:pt x="78" y="150"/>
                </a:moveTo>
                <a:lnTo>
                  <a:pt x="78" y="150"/>
                </a:lnTo>
                <a:lnTo>
                  <a:pt x="82" y="150"/>
                </a:lnTo>
                <a:lnTo>
                  <a:pt x="84" y="146"/>
                </a:lnTo>
                <a:lnTo>
                  <a:pt x="86" y="142"/>
                </a:lnTo>
                <a:lnTo>
                  <a:pt x="88" y="138"/>
                </a:lnTo>
                <a:lnTo>
                  <a:pt x="88" y="138"/>
                </a:lnTo>
                <a:lnTo>
                  <a:pt x="86" y="132"/>
                </a:lnTo>
                <a:lnTo>
                  <a:pt x="84" y="128"/>
                </a:lnTo>
                <a:lnTo>
                  <a:pt x="82" y="126"/>
                </a:lnTo>
                <a:lnTo>
                  <a:pt x="78" y="124"/>
                </a:lnTo>
                <a:lnTo>
                  <a:pt x="78" y="124"/>
                </a:lnTo>
                <a:lnTo>
                  <a:pt x="76" y="126"/>
                </a:lnTo>
                <a:lnTo>
                  <a:pt x="72" y="128"/>
                </a:lnTo>
                <a:lnTo>
                  <a:pt x="70" y="132"/>
                </a:lnTo>
                <a:lnTo>
                  <a:pt x="70" y="138"/>
                </a:lnTo>
                <a:lnTo>
                  <a:pt x="70" y="138"/>
                </a:lnTo>
                <a:lnTo>
                  <a:pt x="70" y="142"/>
                </a:lnTo>
                <a:lnTo>
                  <a:pt x="72" y="146"/>
                </a:lnTo>
                <a:lnTo>
                  <a:pt x="76" y="150"/>
                </a:lnTo>
                <a:lnTo>
                  <a:pt x="78" y="150"/>
                </a:lnTo>
                <a:lnTo>
                  <a:pt x="78" y="150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29" name="Freeform 4803">
            <a:extLst>
              <a:ext uri="{FF2B5EF4-FFF2-40B4-BE49-F238E27FC236}">
                <a16:creationId xmlns:a16="http://schemas.microsoft.com/office/drawing/2014/main" id="{2F6AF9F6-AB2F-4C71-8112-02CE2A96CC24}"/>
              </a:ext>
            </a:extLst>
          </p:cNvPr>
          <p:cNvSpPr>
            <a:spLocks noEditPoints="1"/>
          </p:cNvSpPr>
          <p:nvPr/>
        </p:nvSpPr>
        <p:spPr bwMode="auto">
          <a:xfrm>
            <a:off x="3914385" y="1599434"/>
            <a:ext cx="345659" cy="251889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30" name="Freeform 4988">
            <a:extLst>
              <a:ext uri="{FF2B5EF4-FFF2-40B4-BE49-F238E27FC236}">
                <a16:creationId xmlns:a16="http://schemas.microsoft.com/office/drawing/2014/main" id="{E1536D0A-F000-484A-951C-A5A29FBDA33A}"/>
              </a:ext>
            </a:extLst>
          </p:cNvPr>
          <p:cNvSpPr>
            <a:spLocks noEditPoints="1"/>
          </p:cNvSpPr>
          <p:nvPr/>
        </p:nvSpPr>
        <p:spPr bwMode="auto">
          <a:xfrm>
            <a:off x="4896562" y="1397141"/>
            <a:ext cx="348440" cy="524351"/>
          </a:xfrm>
          <a:custGeom>
            <a:avLst/>
            <a:gdLst>
              <a:gd name="T0" fmla="*/ 24 w 256"/>
              <a:gd name="T1" fmla="*/ 0 h 324"/>
              <a:gd name="T2" fmla="*/ 0 w 256"/>
              <a:gd name="T3" fmla="*/ 18 h 324"/>
              <a:gd name="T4" fmla="*/ 256 w 256"/>
              <a:gd name="T5" fmla="*/ 308 h 324"/>
              <a:gd name="T6" fmla="*/ 240 w 256"/>
              <a:gd name="T7" fmla="*/ 324 h 324"/>
              <a:gd name="T8" fmla="*/ 26 w 256"/>
              <a:gd name="T9" fmla="*/ 314 h 324"/>
              <a:gd name="T10" fmla="*/ 70 w 256"/>
              <a:gd name="T11" fmla="*/ 142 h 324"/>
              <a:gd name="T12" fmla="*/ 78 w 256"/>
              <a:gd name="T13" fmla="*/ 142 h 324"/>
              <a:gd name="T14" fmla="*/ 26 w 256"/>
              <a:gd name="T15" fmla="*/ 72 h 324"/>
              <a:gd name="T16" fmla="*/ 86 w 256"/>
              <a:gd name="T17" fmla="*/ 126 h 324"/>
              <a:gd name="T18" fmla="*/ 180 w 256"/>
              <a:gd name="T19" fmla="*/ 190 h 324"/>
              <a:gd name="T20" fmla="*/ 204 w 256"/>
              <a:gd name="T21" fmla="*/ 170 h 324"/>
              <a:gd name="T22" fmla="*/ 102 w 256"/>
              <a:gd name="T23" fmla="*/ 58 h 324"/>
              <a:gd name="T24" fmla="*/ 240 w 256"/>
              <a:gd name="T25" fmla="*/ 82 h 324"/>
              <a:gd name="T26" fmla="*/ 64 w 256"/>
              <a:gd name="T27" fmla="*/ 240 h 324"/>
              <a:gd name="T28" fmla="*/ 46 w 256"/>
              <a:gd name="T29" fmla="*/ 254 h 324"/>
              <a:gd name="T30" fmla="*/ 46 w 256"/>
              <a:gd name="T31" fmla="*/ 264 h 324"/>
              <a:gd name="T32" fmla="*/ 54 w 256"/>
              <a:gd name="T33" fmla="*/ 294 h 324"/>
              <a:gd name="T34" fmla="*/ 64 w 256"/>
              <a:gd name="T35" fmla="*/ 298 h 324"/>
              <a:gd name="T36" fmla="*/ 192 w 256"/>
              <a:gd name="T37" fmla="*/ 208 h 324"/>
              <a:gd name="T38" fmla="*/ 212 w 256"/>
              <a:gd name="T39" fmla="*/ 184 h 324"/>
              <a:gd name="T40" fmla="*/ 192 w 256"/>
              <a:gd name="T41" fmla="*/ 200 h 324"/>
              <a:gd name="T42" fmla="*/ 126 w 256"/>
              <a:gd name="T43" fmla="*/ 258 h 324"/>
              <a:gd name="T44" fmla="*/ 94 w 256"/>
              <a:gd name="T45" fmla="*/ 242 h 324"/>
              <a:gd name="T46" fmla="*/ 80 w 256"/>
              <a:gd name="T47" fmla="*/ 280 h 324"/>
              <a:gd name="T48" fmla="*/ 112 w 256"/>
              <a:gd name="T49" fmla="*/ 296 h 324"/>
              <a:gd name="T50" fmla="*/ 182 w 256"/>
              <a:gd name="T51" fmla="*/ 272 h 324"/>
              <a:gd name="T52" fmla="*/ 174 w 256"/>
              <a:gd name="T53" fmla="*/ 264 h 324"/>
              <a:gd name="T54" fmla="*/ 170 w 256"/>
              <a:gd name="T55" fmla="*/ 240 h 324"/>
              <a:gd name="T56" fmla="*/ 160 w 256"/>
              <a:gd name="T57" fmla="*/ 246 h 324"/>
              <a:gd name="T58" fmla="*/ 150 w 256"/>
              <a:gd name="T59" fmla="*/ 248 h 324"/>
              <a:gd name="T60" fmla="*/ 142 w 256"/>
              <a:gd name="T61" fmla="*/ 240 h 324"/>
              <a:gd name="T62" fmla="*/ 134 w 256"/>
              <a:gd name="T63" fmla="*/ 272 h 324"/>
              <a:gd name="T64" fmla="*/ 142 w 256"/>
              <a:gd name="T65" fmla="*/ 280 h 324"/>
              <a:gd name="T66" fmla="*/ 160 w 256"/>
              <a:gd name="T67" fmla="*/ 296 h 324"/>
              <a:gd name="T68" fmla="*/ 172 w 256"/>
              <a:gd name="T69" fmla="*/ 296 h 324"/>
              <a:gd name="T70" fmla="*/ 178 w 256"/>
              <a:gd name="T71" fmla="*/ 278 h 324"/>
              <a:gd name="T72" fmla="*/ 234 w 256"/>
              <a:gd name="T73" fmla="*/ 270 h 324"/>
              <a:gd name="T74" fmla="*/ 210 w 256"/>
              <a:gd name="T75" fmla="*/ 240 h 324"/>
              <a:gd name="T76" fmla="*/ 186 w 256"/>
              <a:gd name="T77" fmla="*/ 270 h 324"/>
              <a:gd name="T78" fmla="*/ 210 w 256"/>
              <a:gd name="T79" fmla="*/ 298 h 324"/>
              <a:gd name="T80" fmla="*/ 234 w 256"/>
              <a:gd name="T81" fmla="*/ 270 h 324"/>
              <a:gd name="T82" fmla="*/ 198 w 256"/>
              <a:gd name="T83" fmla="*/ 60 h 324"/>
              <a:gd name="T84" fmla="*/ 210 w 256"/>
              <a:gd name="T85" fmla="*/ 256 h 324"/>
              <a:gd name="T86" fmla="*/ 202 w 256"/>
              <a:gd name="T87" fmla="*/ 270 h 324"/>
              <a:gd name="T88" fmla="*/ 210 w 256"/>
              <a:gd name="T89" fmla="*/ 282 h 324"/>
              <a:gd name="T90" fmla="*/ 218 w 256"/>
              <a:gd name="T91" fmla="*/ 270 h 324"/>
              <a:gd name="T92" fmla="*/ 210 w 256"/>
              <a:gd name="T93" fmla="*/ 256 h 324"/>
              <a:gd name="T94" fmla="*/ 94 w 256"/>
              <a:gd name="T95" fmla="*/ 264 h 324"/>
              <a:gd name="T96" fmla="*/ 100 w 256"/>
              <a:gd name="T97" fmla="*/ 280 h 324"/>
              <a:gd name="T98" fmla="*/ 110 w 256"/>
              <a:gd name="T99" fmla="*/ 274 h 324"/>
              <a:gd name="T100" fmla="*/ 106 w 256"/>
              <a:gd name="T101" fmla="*/ 258 h 324"/>
              <a:gd name="T102" fmla="*/ 182 w 256"/>
              <a:gd name="T103" fmla="*/ 160 h 324"/>
              <a:gd name="T104" fmla="*/ 120 w 256"/>
              <a:gd name="T105" fmla="*/ 92 h 324"/>
              <a:gd name="T106" fmla="*/ 36 w 256"/>
              <a:gd name="T107" fmla="*/ 22 h 324"/>
              <a:gd name="T108" fmla="*/ 32 w 256"/>
              <a:gd name="T109" fmla="*/ 32 h 324"/>
              <a:gd name="T110" fmla="*/ 148 w 256"/>
              <a:gd name="T111" fmla="*/ 136 h 324"/>
              <a:gd name="T112" fmla="*/ 180 w 256"/>
              <a:gd name="T113" fmla="*/ 164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6" h="324">
                <a:moveTo>
                  <a:pt x="4" y="4"/>
                </a:moveTo>
                <a:lnTo>
                  <a:pt x="4" y="4"/>
                </a:lnTo>
                <a:lnTo>
                  <a:pt x="10" y="0"/>
                </a:lnTo>
                <a:lnTo>
                  <a:pt x="18" y="0"/>
                </a:lnTo>
                <a:lnTo>
                  <a:pt x="24" y="0"/>
                </a:lnTo>
                <a:lnTo>
                  <a:pt x="30" y="4"/>
                </a:lnTo>
                <a:lnTo>
                  <a:pt x="6" y="30"/>
                </a:lnTo>
                <a:lnTo>
                  <a:pt x="6" y="30"/>
                </a:lnTo>
                <a:lnTo>
                  <a:pt x="2" y="24"/>
                </a:lnTo>
                <a:lnTo>
                  <a:pt x="0" y="18"/>
                </a:lnTo>
                <a:lnTo>
                  <a:pt x="2" y="10"/>
                </a:lnTo>
                <a:lnTo>
                  <a:pt x="4" y="4"/>
                </a:lnTo>
                <a:lnTo>
                  <a:pt x="4" y="4"/>
                </a:lnTo>
                <a:close/>
                <a:moveTo>
                  <a:pt x="256" y="98"/>
                </a:moveTo>
                <a:lnTo>
                  <a:pt x="256" y="308"/>
                </a:lnTo>
                <a:lnTo>
                  <a:pt x="256" y="308"/>
                </a:lnTo>
                <a:lnTo>
                  <a:pt x="254" y="314"/>
                </a:lnTo>
                <a:lnTo>
                  <a:pt x="250" y="320"/>
                </a:lnTo>
                <a:lnTo>
                  <a:pt x="246" y="324"/>
                </a:lnTo>
                <a:lnTo>
                  <a:pt x="240" y="324"/>
                </a:lnTo>
                <a:lnTo>
                  <a:pt x="42" y="324"/>
                </a:lnTo>
                <a:lnTo>
                  <a:pt x="42" y="324"/>
                </a:lnTo>
                <a:lnTo>
                  <a:pt x="34" y="324"/>
                </a:lnTo>
                <a:lnTo>
                  <a:pt x="30" y="320"/>
                </a:lnTo>
                <a:lnTo>
                  <a:pt x="26" y="314"/>
                </a:lnTo>
                <a:lnTo>
                  <a:pt x="26" y="308"/>
                </a:lnTo>
                <a:lnTo>
                  <a:pt x="26" y="92"/>
                </a:lnTo>
                <a:lnTo>
                  <a:pt x="26" y="92"/>
                </a:lnTo>
                <a:lnTo>
                  <a:pt x="44" y="114"/>
                </a:lnTo>
                <a:lnTo>
                  <a:pt x="70" y="142"/>
                </a:lnTo>
                <a:lnTo>
                  <a:pt x="70" y="142"/>
                </a:lnTo>
                <a:lnTo>
                  <a:pt x="74" y="144"/>
                </a:lnTo>
                <a:lnTo>
                  <a:pt x="74" y="144"/>
                </a:lnTo>
                <a:lnTo>
                  <a:pt x="78" y="142"/>
                </a:lnTo>
                <a:lnTo>
                  <a:pt x="78" y="142"/>
                </a:lnTo>
                <a:lnTo>
                  <a:pt x="80" y="138"/>
                </a:lnTo>
                <a:lnTo>
                  <a:pt x="78" y="134"/>
                </a:lnTo>
                <a:lnTo>
                  <a:pt x="78" y="134"/>
                </a:lnTo>
                <a:lnTo>
                  <a:pt x="46" y="98"/>
                </a:lnTo>
                <a:lnTo>
                  <a:pt x="26" y="72"/>
                </a:lnTo>
                <a:lnTo>
                  <a:pt x="26" y="58"/>
                </a:lnTo>
                <a:lnTo>
                  <a:pt x="26" y="58"/>
                </a:lnTo>
                <a:lnTo>
                  <a:pt x="50" y="88"/>
                </a:lnTo>
                <a:lnTo>
                  <a:pt x="86" y="126"/>
                </a:lnTo>
                <a:lnTo>
                  <a:pt x="86" y="126"/>
                </a:lnTo>
                <a:lnTo>
                  <a:pt x="120" y="156"/>
                </a:lnTo>
                <a:lnTo>
                  <a:pt x="148" y="178"/>
                </a:lnTo>
                <a:lnTo>
                  <a:pt x="176" y="200"/>
                </a:lnTo>
                <a:lnTo>
                  <a:pt x="176" y="200"/>
                </a:lnTo>
                <a:lnTo>
                  <a:pt x="180" y="190"/>
                </a:lnTo>
                <a:lnTo>
                  <a:pt x="186" y="180"/>
                </a:lnTo>
                <a:lnTo>
                  <a:pt x="186" y="180"/>
                </a:lnTo>
                <a:lnTo>
                  <a:pt x="194" y="174"/>
                </a:lnTo>
                <a:lnTo>
                  <a:pt x="204" y="170"/>
                </a:lnTo>
                <a:lnTo>
                  <a:pt x="204" y="170"/>
                </a:lnTo>
                <a:lnTo>
                  <a:pt x="182" y="142"/>
                </a:lnTo>
                <a:lnTo>
                  <a:pt x="160" y="116"/>
                </a:lnTo>
                <a:lnTo>
                  <a:pt x="128" y="84"/>
                </a:lnTo>
                <a:lnTo>
                  <a:pt x="128" y="84"/>
                </a:lnTo>
                <a:lnTo>
                  <a:pt x="102" y="58"/>
                </a:lnTo>
                <a:lnTo>
                  <a:pt x="80" y="40"/>
                </a:lnTo>
                <a:lnTo>
                  <a:pt x="48" y="16"/>
                </a:lnTo>
                <a:lnTo>
                  <a:pt x="174" y="16"/>
                </a:lnTo>
                <a:lnTo>
                  <a:pt x="190" y="32"/>
                </a:lnTo>
                <a:lnTo>
                  <a:pt x="240" y="82"/>
                </a:lnTo>
                <a:lnTo>
                  <a:pt x="256" y="98"/>
                </a:lnTo>
                <a:close/>
                <a:moveTo>
                  <a:pt x="70" y="248"/>
                </a:moveTo>
                <a:lnTo>
                  <a:pt x="70" y="248"/>
                </a:lnTo>
                <a:lnTo>
                  <a:pt x="68" y="244"/>
                </a:lnTo>
                <a:lnTo>
                  <a:pt x="64" y="240"/>
                </a:lnTo>
                <a:lnTo>
                  <a:pt x="64" y="240"/>
                </a:lnTo>
                <a:lnTo>
                  <a:pt x="60" y="240"/>
                </a:lnTo>
                <a:lnTo>
                  <a:pt x="56" y="242"/>
                </a:lnTo>
                <a:lnTo>
                  <a:pt x="46" y="254"/>
                </a:lnTo>
                <a:lnTo>
                  <a:pt x="46" y="254"/>
                </a:lnTo>
                <a:lnTo>
                  <a:pt x="44" y="256"/>
                </a:lnTo>
                <a:lnTo>
                  <a:pt x="42" y="258"/>
                </a:lnTo>
                <a:lnTo>
                  <a:pt x="44" y="262"/>
                </a:lnTo>
                <a:lnTo>
                  <a:pt x="46" y="264"/>
                </a:lnTo>
                <a:lnTo>
                  <a:pt x="46" y="264"/>
                </a:lnTo>
                <a:lnTo>
                  <a:pt x="48" y="266"/>
                </a:lnTo>
                <a:lnTo>
                  <a:pt x="54" y="266"/>
                </a:lnTo>
                <a:lnTo>
                  <a:pt x="54" y="290"/>
                </a:lnTo>
                <a:lnTo>
                  <a:pt x="54" y="290"/>
                </a:lnTo>
                <a:lnTo>
                  <a:pt x="54" y="294"/>
                </a:lnTo>
                <a:lnTo>
                  <a:pt x="56" y="296"/>
                </a:lnTo>
                <a:lnTo>
                  <a:pt x="58" y="298"/>
                </a:lnTo>
                <a:lnTo>
                  <a:pt x="62" y="298"/>
                </a:lnTo>
                <a:lnTo>
                  <a:pt x="62" y="298"/>
                </a:lnTo>
                <a:lnTo>
                  <a:pt x="64" y="298"/>
                </a:lnTo>
                <a:lnTo>
                  <a:pt x="66" y="296"/>
                </a:lnTo>
                <a:lnTo>
                  <a:pt x="68" y="294"/>
                </a:lnTo>
                <a:lnTo>
                  <a:pt x="70" y="290"/>
                </a:lnTo>
                <a:lnTo>
                  <a:pt x="70" y="248"/>
                </a:lnTo>
                <a:close/>
                <a:moveTo>
                  <a:pt x="192" y="208"/>
                </a:moveTo>
                <a:lnTo>
                  <a:pt x="224" y="218"/>
                </a:lnTo>
                <a:lnTo>
                  <a:pt x="212" y="184"/>
                </a:lnTo>
                <a:lnTo>
                  <a:pt x="212" y="184"/>
                </a:lnTo>
                <a:lnTo>
                  <a:pt x="212" y="184"/>
                </a:lnTo>
                <a:lnTo>
                  <a:pt x="212" y="184"/>
                </a:lnTo>
                <a:lnTo>
                  <a:pt x="206" y="186"/>
                </a:lnTo>
                <a:lnTo>
                  <a:pt x="198" y="192"/>
                </a:lnTo>
                <a:lnTo>
                  <a:pt x="198" y="192"/>
                </a:lnTo>
                <a:lnTo>
                  <a:pt x="194" y="196"/>
                </a:lnTo>
                <a:lnTo>
                  <a:pt x="192" y="200"/>
                </a:lnTo>
                <a:lnTo>
                  <a:pt x="192" y="208"/>
                </a:lnTo>
                <a:lnTo>
                  <a:pt x="192" y="208"/>
                </a:lnTo>
                <a:close/>
                <a:moveTo>
                  <a:pt x="128" y="270"/>
                </a:moveTo>
                <a:lnTo>
                  <a:pt x="128" y="270"/>
                </a:lnTo>
                <a:lnTo>
                  <a:pt x="126" y="258"/>
                </a:lnTo>
                <a:lnTo>
                  <a:pt x="120" y="248"/>
                </a:lnTo>
                <a:lnTo>
                  <a:pt x="112" y="242"/>
                </a:lnTo>
                <a:lnTo>
                  <a:pt x="102" y="240"/>
                </a:lnTo>
                <a:lnTo>
                  <a:pt x="102" y="240"/>
                </a:lnTo>
                <a:lnTo>
                  <a:pt x="94" y="242"/>
                </a:lnTo>
                <a:lnTo>
                  <a:pt x="86" y="248"/>
                </a:lnTo>
                <a:lnTo>
                  <a:pt x="80" y="258"/>
                </a:lnTo>
                <a:lnTo>
                  <a:pt x="78" y="270"/>
                </a:lnTo>
                <a:lnTo>
                  <a:pt x="78" y="270"/>
                </a:lnTo>
                <a:lnTo>
                  <a:pt x="80" y="280"/>
                </a:lnTo>
                <a:lnTo>
                  <a:pt x="86" y="290"/>
                </a:lnTo>
                <a:lnTo>
                  <a:pt x="94" y="296"/>
                </a:lnTo>
                <a:lnTo>
                  <a:pt x="102" y="298"/>
                </a:lnTo>
                <a:lnTo>
                  <a:pt x="102" y="298"/>
                </a:lnTo>
                <a:lnTo>
                  <a:pt x="112" y="296"/>
                </a:lnTo>
                <a:lnTo>
                  <a:pt x="120" y="290"/>
                </a:lnTo>
                <a:lnTo>
                  <a:pt x="126" y="280"/>
                </a:lnTo>
                <a:lnTo>
                  <a:pt x="128" y="270"/>
                </a:lnTo>
                <a:lnTo>
                  <a:pt x="128" y="270"/>
                </a:lnTo>
                <a:close/>
                <a:moveTo>
                  <a:pt x="182" y="272"/>
                </a:moveTo>
                <a:lnTo>
                  <a:pt x="182" y="272"/>
                </a:lnTo>
                <a:lnTo>
                  <a:pt x="182" y="268"/>
                </a:lnTo>
                <a:lnTo>
                  <a:pt x="180" y="266"/>
                </a:lnTo>
                <a:lnTo>
                  <a:pt x="178" y="264"/>
                </a:lnTo>
                <a:lnTo>
                  <a:pt x="174" y="264"/>
                </a:lnTo>
                <a:lnTo>
                  <a:pt x="174" y="248"/>
                </a:lnTo>
                <a:lnTo>
                  <a:pt x="174" y="248"/>
                </a:lnTo>
                <a:lnTo>
                  <a:pt x="174" y="246"/>
                </a:lnTo>
                <a:lnTo>
                  <a:pt x="172" y="242"/>
                </a:lnTo>
                <a:lnTo>
                  <a:pt x="170" y="240"/>
                </a:lnTo>
                <a:lnTo>
                  <a:pt x="166" y="240"/>
                </a:lnTo>
                <a:lnTo>
                  <a:pt x="166" y="240"/>
                </a:lnTo>
                <a:lnTo>
                  <a:pt x="164" y="240"/>
                </a:lnTo>
                <a:lnTo>
                  <a:pt x="160" y="242"/>
                </a:lnTo>
                <a:lnTo>
                  <a:pt x="160" y="246"/>
                </a:lnTo>
                <a:lnTo>
                  <a:pt x="158" y="248"/>
                </a:lnTo>
                <a:lnTo>
                  <a:pt x="158" y="264"/>
                </a:lnTo>
                <a:lnTo>
                  <a:pt x="150" y="264"/>
                </a:lnTo>
                <a:lnTo>
                  <a:pt x="150" y="248"/>
                </a:lnTo>
                <a:lnTo>
                  <a:pt x="150" y="248"/>
                </a:lnTo>
                <a:lnTo>
                  <a:pt x="150" y="246"/>
                </a:lnTo>
                <a:lnTo>
                  <a:pt x="148" y="242"/>
                </a:lnTo>
                <a:lnTo>
                  <a:pt x="146" y="240"/>
                </a:lnTo>
                <a:lnTo>
                  <a:pt x="142" y="240"/>
                </a:lnTo>
                <a:lnTo>
                  <a:pt x="142" y="240"/>
                </a:lnTo>
                <a:lnTo>
                  <a:pt x="140" y="240"/>
                </a:lnTo>
                <a:lnTo>
                  <a:pt x="136" y="242"/>
                </a:lnTo>
                <a:lnTo>
                  <a:pt x="134" y="246"/>
                </a:lnTo>
                <a:lnTo>
                  <a:pt x="134" y="248"/>
                </a:lnTo>
                <a:lnTo>
                  <a:pt x="134" y="272"/>
                </a:lnTo>
                <a:lnTo>
                  <a:pt x="134" y="272"/>
                </a:lnTo>
                <a:lnTo>
                  <a:pt x="134" y="274"/>
                </a:lnTo>
                <a:lnTo>
                  <a:pt x="136" y="276"/>
                </a:lnTo>
                <a:lnTo>
                  <a:pt x="140" y="278"/>
                </a:lnTo>
                <a:lnTo>
                  <a:pt x="142" y="280"/>
                </a:lnTo>
                <a:lnTo>
                  <a:pt x="158" y="280"/>
                </a:lnTo>
                <a:lnTo>
                  <a:pt x="158" y="290"/>
                </a:lnTo>
                <a:lnTo>
                  <a:pt x="158" y="290"/>
                </a:lnTo>
                <a:lnTo>
                  <a:pt x="160" y="294"/>
                </a:lnTo>
                <a:lnTo>
                  <a:pt x="160" y="296"/>
                </a:lnTo>
                <a:lnTo>
                  <a:pt x="164" y="298"/>
                </a:lnTo>
                <a:lnTo>
                  <a:pt x="166" y="298"/>
                </a:lnTo>
                <a:lnTo>
                  <a:pt x="166" y="298"/>
                </a:lnTo>
                <a:lnTo>
                  <a:pt x="170" y="298"/>
                </a:lnTo>
                <a:lnTo>
                  <a:pt x="172" y="296"/>
                </a:lnTo>
                <a:lnTo>
                  <a:pt x="174" y="294"/>
                </a:lnTo>
                <a:lnTo>
                  <a:pt x="174" y="290"/>
                </a:lnTo>
                <a:lnTo>
                  <a:pt x="174" y="280"/>
                </a:lnTo>
                <a:lnTo>
                  <a:pt x="174" y="280"/>
                </a:lnTo>
                <a:lnTo>
                  <a:pt x="178" y="278"/>
                </a:lnTo>
                <a:lnTo>
                  <a:pt x="180" y="276"/>
                </a:lnTo>
                <a:lnTo>
                  <a:pt x="182" y="274"/>
                </a:lnTo>
                <a:lnTo>
                  <a:pt x="182" y="272"/>
                </a:lnTo>
                <a:lnTo>
                  <a:pt x="182" y="272"/>
                </a:lnTo>
                <a:close/>
                <a:moveTo>
                  <a:pt x="234" y="270"/>
                </a:moveTo>
                <a:lnTo>
                  <a:pt x="234" y="270"/>
                </a:lnTo>
                <a:lnTo>
                  <a:pt x="232" y="258"/>
                </a:lnTo>
                <a:lnTo>
                  <a:pt x="226" y="248"/>
                </a:lnTo>
                <a:lnTo>
                  <a:pt x="220" y="242"/>
                </a:lnTo>
                <a:lnTo>
                  <a:pt x="210" y="240"/>
                </a:lnTo>
                <a:lnTo>
                  <a:pt x="210" y="240"/>
                </a:lnTo>
                <a:lnTo>
                  <a:pt x="200" y="242"/>
                </a:lnTo>
                <a:lnTo>
                  <a:pt x="192" y="248"/>
                </a:lnTo>
                <a:lnTo>
                  <a:pt x="186" y="258"/>
                </a:lnTo>
                <a:lnTo>
                  <a:pt x="186" y="270"/>
                </a:lnTo>
                <a:lnTo>
                  <a:pt x="186" y="270"/>
                </a:lnTo>
                <a:lnTo>
                  <a:pt x="186" y="280"/>
                </a:lnTo>
                <a:lnTo>
                  <a:pt x="192" y="290"/>
                </a:lnTo>
                <a:lnTo>
                  <a:pt x="200" y="296"/>
                </a:lnTo>
                <a:lnTo>
                  <a:pt x="210" y="298"/>
                </a:lnTo>
                <a:lnTo>
                  <a:pt x="210" y="298"/>
                </a:lnTo>
                <a:lnTo>
                  <a:pt x="220" y="296"/>
                </a:lnTo>
                <a:lnTo>
                  <a:pt x="226" y="290"/>
                </a:lnTo>
                <a:lnTo>
                  <a:pt x="232" y="280"/>
                </a:lnTo>
                <a:lnTo>
                  <a:pt x="234" y="270"/>
                </a:lnTo>
                <a:lnTo>
                  <a:pt x="234" y="270"/>
                </a:lnTo>
                <a:close/>
                <a:moveTo>
                  <a:pt x="240" y="102"/>
                </a:moveTo>
                <a:lnTo>
                  <a:pt x="222" y="84"/>
                </a:lnTo>
                <a:lnTo>
                  <a:pt x="198" y="84"/>
                </a:lnTo>
                <a:lnTo>
                  <a:pt x="198" y="60"/>
                </a:lnTo>
                <a:lnTo>
                  <a:pt x="180" y="42"/>
                </a:lnTo>
                <a:lnTo>
                  <a:pt x="180" y="102"/>
                </a:lnTo>
                <a:lnTo>
                  <a:pt x="240" y="102"/>
                </a:lnTo>
                <a:close/>
                <a:moveTo>
                  <a:pt x="210" y="256"/>
                </a:moveTo>
                <a:lnTo>
                  <a:pt x="210" y="256"/>
                </a:lnTo>
                <a:lnTo>
                  <a:pt x="206" y="258"/>
                </a:lnTo>
                <a:lnTo>
                  <a:pt x="204" y="260"/>
                </a:lnTo>
                <a:lnTo>
                  <a:pt x="202" y="264"/>
                </a:lnTo>
                <a:lnTo>
                  <a:pt x="202" y="270"/>
                </a:lnTo>
                <a:lnTo>
                  <a:pt x="202" y="270"/>
                </a:lnTo>
                <a:lnTo>
                  <a:pt x="202" y="274"/>
                </a:lnTo>
                <a:lnTo>
                  <a:pt x="204" y="278"/>
                </a:lnTo>
                <a:lnTo>
                  <a:pt x="206" y="280"/>
                </a:lnTo>
                <a:lnTo>
                  <a:pt x="210" y="282"/>
                </a:lnTo>
                <a:lnTo>
                  <a:pt x="210" y="282"/>
                </a:lnTo>
                <a:lnTo>
                  <a:pt x="212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0"/>
                </a:lnTo>
                <a:lnTo>
                  <a:pt x="218" y="270"/>
                </a:lnTo>
                <a:lnTo>
                  <a:pt x="218" y="264"/>
                </a:lnTo>
                <a:lnTo>
                  <a:pt x="216" y="260"/>
                </a:lnTo>
                <a:lnTo>
                  <a:pt x="212" y="258"/>
                </a:lnTo>
                <a:lnTo>
                  <a:pt x="210" y="256"/>
                </a:lnTo>
                <a:lnTo>
                  <a:pt x="210" y="256"/>
                </a:lnTo>
                <a:close/>
                <a:moveTo>
                  <a:pt x="102" y="256"/>
                </a:moveTo>
                <a:lnTo>
                  <a:pt x="102" y="256"/>
                </a:lnTo>
                <a:lnTo>
                  <a:pt x="100" y="258"/>
                </a:lnTo>
                <a:lnTo>
                  <a:pt x="96" y="260"/>
                </a:lnTo>
                <a:lnTo>
                  <a:pt x="94" y="264"/>
                </a:lnTo>
                <a:lnTo>
                  <a:pt x="94" y="270"/>
                </a:lnTo>
                <a:lnTo>
                  <a:pt x="94" y="270"/>
                </a:lnTo>
                <a:lnTo>
                  <a:pt x="94" y="274"/>
                </a:lnTo>
                <a:lnTo>
                  <a:pt x="96" y="278"/>
                </a:lnTo>
                <a:lnTo>
                  <a:pt x="100" y="280"/>
                </a:lnTo>
                <a:lnTo>
                  <a:pt x="102" y="282"/>
                </a:lnTo>
                <a:lnTo>
                  <a:pt x="102" y="282"/>
                </a:lnTo>
                <a:lnTo>
                  <a:pt x="106" y="280"/>
                </a:lnTo>
                <a:lnTo>
                  <a:pt x="108" y="278"/>
                </a:lnTo>
                <a:lnTo>
                  <a:pt x="110" y="274"/>
                </a:lnTo>
                <a:lnTo>
                  <a:pt x="112" y="270"/>
                </a:lnTo>
                <a:lnTo>
                  <a:pt x="112" y="270"/>
                </a:lnTo>
                <a:lnTo>
                  <a:pt x="110" y="264"/>
                </a:lnTo>
                <a:lnTo>
                  <a:pt x="108" y="260"/>
                </a:lnTo>
                <a:lnTo>
                  <a:pt x="106" y="258"/>
                </a:lnTo>
                <a:lnTo>
                  <a:pt x="102" y="256"/>
                </a:lnTo>
                <a:lnTo>
                  <a:pt x="102" y="256"/>
                </a:lnTo>
                <a:close/>
                <a:moveTo>
                  <a:pt x="180" y="164"/>
                </a:moveTo>
                <a:lnTo>
                  <a:pt x="180" y="164"/>
                </a:lnTo>
                <a:lnTo>
                  <a:pt x="182" y="160"/>
                </a:lnTo>
                <a:lnTo>
                  <a:pt x="180" y="156"/>
                </a:lnTo>
                <a:lnTo>
                  <a:pt x="180" y="156"/>
                </a:lnTo>
                <a:lnTo>
                  <a:pt x="156" y="128"/>
                </a:lnTo>
                <a:lnTo>
                  <a:pt x="120" y="92"/>
                </a:lnTo>
                <a:lnTo>
                  <a:pt x="120" y="92"/>
                </a:lnTo>
                <a:lnTo>
                  <a:pt x="88" y="62"/>
                </a:lnTo>
                <a:lnTo>
                  <a:pt x="62" y="40"/>
                </a:lnTo>
                <a:lnTo>
                  <a:pt x="40" y="22"/>
                </a:lnTo>
                <a:lnTo>
                  <a:pt x="40" y="22"/>
                </a:lnTo>
                <a:lnTo>
                  <a:pt x="36" y="22"/>
                </a:lnTo>
                <a:lnTo>
                  <a:pt x="32" y="24"/>
                </a:lnTo>
                <a:lnTo>
                  <a:pt x="32" y="24"/>
                </a:lnTo>
                <a:lnTo>
                  <a:pt x="30" y="28"/>
                </a:lnTo>
                <a:lnTo>
                  <a:pt x="32" y="32"/>
                </a:lnTo>
                <a:lnTo>
                  <a:pt x="32" y="32"/>
                </a:lnTo>
                <a:lnTo>
                  <a:pt x="54" y="50"/>
                </a:lnTo>
                <a:lnTo>
                  <a:pt x="80" y="70"/>
                </a:lnTo>
                <a:lnTo>
                  <a:pt x="112" y="100"/>
                </a:lnTo>
                <a:lnTo>
                  <a:pt x="112" y="100"/>
                </a:lnTo>
                <a:lnTo>
                  <a:pt x="148" y="136"/>
                </a:lnTo>
                <a:lnTo>
                  <a:pt x="170" y="164"/>
                </a:lnTo>
                <a:lnTo>
                  <a:pt x="170" y="164"/>
                </a:lnTo>
                <a:lnTo>
                  <a:pt x="176" y="166"/>
                </a:lnTo>
                <a:lnTo>
                  <a:pt x="176" y="166"/>
                </a:lnTo>
                <a:lnTo>
                  <a:pt x="180" y="164"/>
                </a:lnTo>
                <a:lnTo>
                  <a:pt x="180" y="164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7AACF0B-FC58-46CD-B39D-B260C305F8CB}"/>
              </a:ext>
            </a:extLst>
          </p:cNvPr>
          <p:cNvGrpSpPr/>
          <p:nvPr/>
        </p:nvGrpSpPr>
        <p:grpSpPr>
          <a:xfrm>
            <a:off x="6416606" y="1238831"/>
            <a:ext cx="2549971" cy="1823897"/>
            <a:chOff x="6332735" y="2174785"/>
            <a:chExt cx="3405588" cy="2431862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D0C8994-17EE-426F-85A7-11961D020F06}"/>
                </a:ext>
              </a:extLst>
            </p:cNvPr>
            <p:cNvGrpSpPr/>
            <p:nvPr/>
          </p:nvGrpSpPr>
          <p:grpSpPr>
            <a:xfrm>
              <a:off x="6332735" y="2321320"/>
              <a:ext cx="3405588" cy="2285327"/>
              <a:chOff x="208672" y="2428707"/>
              <a:chExt cx="3405588" cy="2285327"/>
            </a:xfrm>
          </p:grpSpPr>
          <p:sp>
            <p:nvSpPr>
              <p:cNvPr id="51" name="Freeform 40">
                <a:extLst>
                  <a:ext uri="{FF2B5EF4-FFF2-40B4-BE49-F238E27FC236}">
                    <a16:creationId xmlns:a16="http://schemas.microsoft.com/office/drawing/2014/main" id="{A9CD1B39-EC9A-4A7E-BF27-B4C90B4A31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01829" y="2428707"/>
                <a:ext cx="327135" cy="439455"/>
              </a:xfrm>
              <a:custGeom>
                <a:avLst/>
                <a:gdLst>
                  <a:gd name="T0" fmla="*/ 125 w 233"/>
                  <a:gd name="T1" fmla="*/ 41 h 313"/>
                  <a:gd name="T2" fmla="*/ 125 w 233"/>
                  <a:gd name="T3" fmla="*/ 43 h 313"/>
                  <a:gd name="T4" fmla="*/ 127 w 233"/>
                  <a:gd name="T5" fmla="*/ 43 h 313"/>
                  <a:gd name="T6" fmla="*/ 125 w 233"/>
                  <a:gd name="T7" fmla="*/ 43 h 313"/>
                  <a:gd name="T8" fmla="*/ 125 w 233"/>
                  <a:gd name="T9" fmla="*/ 41 h 313"/>
                  <a:gd name="T10" fmla="*/ 196 w 233"/>
                  <a:gd name="T11" fmla="*/ 240 h 313"/>
                  <a:gd name="T12" fmla="*/ 178 w 233"/>
                  <a:gd name="T13" fmla="*/ 199 h 313"/>
                  <a:gd name="T14" fmla="*/ 162 w 233"/>
                  <a:gd name="T15" fmla="*/ 152 h 313"/>
                  <a:gd name="T16" fmla="*/ 161 w 233"/>
                  <a:gd name="T17" fmla="*/ 140 h 313"/>
                  <a:gd name="T18" fmla="*/ 165 w 233"/>
                  <a:gd name="T19" fmla="*/ 91 h 313"/>
                  <a:gd name="T20" fmla="*/ 178 w 233"/>
                  <a:gd name="T21" fmla="*/ 37 h 313"/>
                  <a:gd name="T22" fmla="*/ 181 w 233"/>
                  <a:gd name="T23" fmla="*/ 20 h 313"/>
                  <a:gd name="T24" fmla="*/ 184 w 233"/>
                  <a:gd name="T25" fmla="*/ 6 h 313"/>
                  <a:gd name="T26" fmla="*/ 178 w 233"/>
                  <a:gd name="T27" fmla="*/ 0 h 313"/>
                  <a:gd name="T28" fmla="*/ 170 w 233"/>
                  <a:gd name="T29" fmla="*/ 15 h 313"/>
                  <a:gd name="T30" fmla="*/ 150 w 233"/>
                  <a:gd name="T31" fmla="*/ 40 h 313"/>
                  <a:gd name="T32" fmla="*/ 142 w 233"/>
                  <a:gd name="T33" fmla="*/ 44 h 313"/>
                  <a:gd name="T34" fmla="*/ 127 w 233"/>
                  <a:gd name="T35" fmla="*/ 43 h 313"/>
                  <a:gd name="T36" fmla="*/ 128 w 233"/>
                  <a:gd name="T37" fmla="*/ 47 h 313"/>
                  <a:gd name="T38" fmla="*/ 130 w 233"/>
                  <a:gd name="T39" fmla="*/ 75 h 313"/>
                  <a:gd name="T40" fmla="*/ 130 w 233"/>
                  <a:gd name="T41" fmla="*/ 112 h 313"/>
                  <a:gd name="T42" fmla="*/ 130 w 233"/>
                  <a:gd name="T43" fmla="*/ 143 h 313"/>
                  <a:gd name="T44" fmla="*/ 139 w 233"/>
                  <a:gd name="T45" fmla="*/ 67 h 313"/>
                  <a:gd name="T46" fmla="*/ 136 w 233"/>
                  <a:gd name="T47" fmla="*/ 63 h 313"/>
                  <a:gd name="T48" fmla="*/ 139 w 233"/>
                  <a:gd name="T49" fmla="*/ 52 h 313"/>
                  <a:gd name="T50" fmla="*/ 144 w 233"/>
                  <a:gd name="T51" fmla="*/ 51 h 313"/>
                  <a:gd name="T52" fmla="*/ 147 w 233"/>
                  <a:gd name="T53" fmla="*/ 51 h 313"/>
                  <a:gd name="T54" fmla="*/ 151 w 233"/>
                  <a:gd name="T55" fmla="*/ 57 h 313"/>
                  <a:gd name="T56" fmla="*/ 148 w 233"/>
                  <a:gd name="T57" fmla="*/ 67 h 313"/>
                  <a:gd name="T58" fmla="*/ 151 w 233"/>
                  <a:gd name="T59" fmla="*/ 106 h 313"/>
                  <a:gd name="T60" fmla="*/ 151 w 233"/>
                  <a:gd name="T61" fmla="*/ 168 h 313"/>
                  <a:gd name="T62" fmla="*/ 151 w 233"/>
                  <a:gd name="T63" fmla="*/ 195 h 313"/>
                  <a:gd name="T64" fmla="*/ 158 w 233"/>
                  <a:gd name="T65" fmla="*/ 266 h 313"/>
                  <a:gd name="T66" fmla="*/ 128 w 233"/>
                  <a:gd name="T67" fmla="*/ 262 h 313"/>
                  <a:gd name="T68" fmla="*/ 130 w 233"/>
                  <a:gd name="T69" fmla="*/ 280 h 313"/>
                  <a:gd name="T70" fmla="*/ 131 w 233"/>
                  <a:gd name="T71" fmla="*/ 305 h 313"/>
                  <a:gd name="T72" fmla="*/ 134 w 233"/>
                  <a:gd name="T73" fmla="*/ 310 h 313"/>
                  <a:gd name="T74" fmla="*/ 145 w 233"/>
                  <a:gd name="T75" fmla="*/ 313 h 313"/>
                  <a:gd name="T76" fmla="*/ 151 w 233"/>
                  <a:gd name="T77" fmla="*/ 313 h 313"/>
                  <a:gd name="T78" fmla="*/ 181 w 233"/>
                  <a:gd name="T79" fmla="*/ 306 h 313"/>
                  <a:gd name="T80" fmla="*/ 196 w 233"/>
                  <a:gd name="T81" fmla="*/ 305 h 313"/>
                  <a:gd name="T82" fmla="*/ 233 w 233"/>
                  <a:gd name="T83" fmla="*/ 306 h 313"/>
                  <a:gd name="T84" fmla="*/ 219 w 233"/>
                  <a:gd name="T85" fmla="*/ 282 h 313"/>
                  <a:gd name="T86" fmla="*/ 196 w 233"/>
                  <a:gd name="T87" fmla="*/ 240 h 313"/>
                  <a:gd name="T88" fmla="*/ 0 w 233"/>
                  <a:gd name="T89" fmla="*/ 222 h 313"/>
                  <a:gd name="T90" fmla="*/ 11 w 233"/>
                  <a:gd name="T91" fmla="*/ 242 h 313"/>
                  <a:gd name="T92" fmla="*/ 11 w 233"/>
                  <a:gd name="T93" fmla="*/ 252 h 313"/>
                  <a:gd name="T94" fmla="*/ 7 w 233"/>
                  <a:gd name="T95" fmla="*/ 260 h 313"/>
                  <a:gd name="T96" fmla="*/ 8 w 233"/>
                  <a:gd name="T97" fmla="*/ 260 h 313"/>
                  <a:gd name="T98" fmla="*/ 16 w 233"/>
                  <a:gd name="T99" fmla="*/ 262 h 313"/>
                  <a:gd name="T100" fmla="*/ 19 w 233"/>
                  <a:gd name="T101" fmla="*/ 257 h 313"/>
                  <a:gd name="T102" fmla="*/ 22 w 233"/>
                  <a:gd name="T103" fmla="*/ 251 h 313"/>
                  <a:gd name="T104" fmla="*/ 20 w 233"/>
                  <a:gd name="T105" fmla="*/ 237 h 313"/>
                  <a:gd name="T106" fmla="*/ 16 w 233"/>
                  <a:gd name="T107" fmla="*/ 226 h 313"/>
                  <a:gd name="T108" fmla="*/ 10 w 233"/>
                  <a:gd name="T109" fmla="*/ 220 h 313"/>
                  <a:gd name="T110" fmla="*/ 0 w 233"/>
                  <a:gd name="T111" fmla="*/ 222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3" h="313">
                    <a:moveTo>
                      <a:pt x="125" y="41"/>
                    </a:moveTo>
                    <a:lnTo>
                      <a:pt x="125" y="41"/>
                    </a:lnTo>
                    <a:lnTo>
                      <a:pt x="125" y="43"/>
                    </a:lnTo>
                    <a:lnTo>
                      <a:pt x="125" y="43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5" y="43"/>
                    </a:lnTo>
                    <a:lnTo>
                      <a:pt x="125" y="41"/>
                    </a:lnTo>
                    <a:lnTo>
                      <a:pt x="125" y="41"/>
                    </a:lnTo>
                    <a:close/>
                    <a:moveTo>
                      <a:pt x="196" y="240"/>
                    </a:moveTo>
                    <a:lnTo>
                      <a:pt x="196" y="240"/>
                    </a:lnTo>
                    <a:lnTo>
                      <a:pt x="187" y="220"/>
                    </a:lnTo>
                    <a:lnTo>
                      <a:pt x="178" y="199"/>
                    </a:lnTo>
                    <a:lnTo>
                      <a:pt x="168" y="177"/>
                    </a:lnTo>
                    <a:lnTo>
                      <a:pt x="162" y="152"/>
                    </a:lnTo>
                    <a:lnTo>
                      <a:pt x="162" y="152"/>
                    </a:lnTo>
                    <a:lnTo>
                      <a:pt x="161" y="140"/>
                    </a:lnTo>
                    <a:lnTo>
                      <a:pt x="162" y="125"/>
                    </a:lnTo>
                    <a:lnTo>
                      <a:pt x="165" y="91"/>
                    </a:lnTo>
                    <a:lnTo>
                      <a:pt x="171" y="60"/>
                    </a:lnTo>
                    <a:lnTo>
                      <a:pt x="178" y="37"/>
                    </a:lnTo>
                    <a:lnTo>
                      <a:pt x="178" y="37"/>
                    </a:lnTo>
                    <a:lnTo>
                      <a:pt x="181" y="20"/>
                    </a:lnTo>
                    <a:lnTo>
                      <a:pt x="184" y="6"/>
                    </a:lnTo>
                    <a:lnTo>
                      <a:pt x="184" y="6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5" y="7"/>
                    </a:lnTo>
                    <a:lnTo>
                      <a:pt x="170" y="15"/>
                    </a:lnTo>
                    <a:lnTo>
                      <a:pt x="159" y="29"/>
                    </a:lnTo>
                    <a:lnTo>
                      <a:pt x="150" y="40"/>
                    </a:lnTo>
                    <a:lnTo>
                      <a:pt x="142" y="44"/>
                    </a:lnTo>
                    <a:lnTo>
                      <a:pt x="142" y="44"/>
                    </a:lnTo>
                    <a:lnTo>
                      <a:pt x="133" y="44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8" y="47"/>
                    </a:lnTo>
                    <a:lnTo>
                      <a:pt x="130" y="57"/>
                    </a:lnTo>
                    <a:lnTo>
                      <a:pt x="130" y="75"/>
                    </a:lnTo>
                    <a:lnTo>
                      <a:pt x="130" y="75"/>
                    </a:lnTo>
                    <a:lnTo>
                      <a:pt x="130" y="112"/>
                    </a:lnTo>
                    <a:lnTo>
                      <a:pt x="130" y="143"/>
                    </a:lnTo>
                    <a:lnTo>
                      <a:pt x="130" y="143"/>
                    </a:lnTo>
                    <a:lnTo>
                      <a:pt x="136" y="98"/>
                    </a:lnTo>
                    <a:lnTo>
                      <a:pt x="139" y="67"/>
                    </a:lnTo>
                    <a:lnTo>
                      <a:pt x="139" y="67"/>
                    </a:lnTo>
                    <a:lnTo>
                      <a:pt x="136" y="63"/>
                    </a:lnTo>
                    <a:lnTo>
                      <a:pt x="138" y="57"/>
                    </a:lnTo>
                    <a:lnTo>
                      <a:pt x="139" y="52"/>
                    </a:lnTo>
                    <a:lnTo>
                      <a:pt x="142" y="51"/>
                    </a:lnTo>
                    <a:lnTo>
                      <a:pt x="144" y="51"/>
                    </a:lnTo>
                    <a:lnTo>
                      <a:pt x="144" y="51"/>
                    </a:lnTo>
                    <a:lnTo>
                      <a:pt x="147" y="51"/>
                    </a:lnTo>
                    <a:lnTo>
                      <a:pt x="148" y="52"/>
                    </a:lnTo>
                    <a:lnTo>
                      <a:pt x="151" y="57"/>
                    </a:lnTo>
                    <a:lnTo>
                      <a:pt x="155" y="63"/>
                    </a:lnTo>
                    <a:lnTo>
                      <a:pt x="148" y="67"/>
                    </a:lnTo>
                    <a:lnTo>
                      <a:pt x="148" y="67"/>
                    </a:lnTo>
                    <a:lnTo>
                      <a:pt x="151" y="106"/>
                    </a:lnTo>
                    <a:lnTo>
                      <a:pt x="153" y="140"/>
                    </a:lnTo>
                    <a:lnTo>
                      <a:pt x="151" y="168"/>
                    </a:lnTo>
                    <a:lnTo>
                      <a:pt x="151" y="168"/>
                    </a:lnTo>
                    <a:lnTo>
                      <a:pt x="151" y="195"/>
                    </a:lnTo>
                    <a:lnTo>
                      <a:pt x="155" y="228"/>
                    </a:lnTo>
                    <a:lnTo>
                      <a:pt x="158" y="266"/>
                    </a:lnTo>
                    <a:lnTo>
                      <a:pt x="142" y="276"/>
                    </a:lnTo>
                    <a:lnTo>
                      <a:pt x="128" y="262"/>
                    </a:lnTo>
                    <a:lnTo>
                      <a:pt x="128" y="262"/>
                    </a:lnTo>
                    <a:lnTo>
                      <a:pt x="130" y="280"/>
                    </a:lnTo>
                    <a:lnTo>
                      <a:pt x="131" y="305"/>
                    </a:lnTo>
                    <a:lnTo>
                      <a:pt x="131" y="305"/>
                    </a:lnTo>
                    <a:lnTo>
                      <a:pt x="131" y="310"/>
                    </a:lnTo>
                    <a:lnTo>
                      <a:pt x="134" y="310"/>
                    </a:lnTo>
                    <a:lnTo>
                      <a:pt x="139" y="311"/>
                    </a:lnTo>
                    <a:lnTo>
                      <a:pt x="145" y="313"/>
                    </a:lnTo>
                    <a:lnTo>
                      <a:pt x="145" y="313"/>
                    </a:lnTo>
                    <a:lnTo>
                      <a:pt x="151" y="313"/>
                    </a:lnTo>
                    <a:lnTo>
                      <a:pt x="159" y="313"/>
                    </a:lnTo>
                    <a:lnTo>
                      <a:pt x="181" y="306"/>
                    </a:lnTo>
                    <a:lnTo>
                      <a:pt x="181" y="306"/>
                    </a:lnTo>
                    <a:lnTo>
                      <a:pt x="196" y="305"/>
                    </a:lnTo>
                    <a:lnTo>
                      <a:pt x="213" y="305"/>
                    </a:lnTo>
                    <a:lnTo>
                      <a:pt x="233" y="306"/>
                    </a:lnTo>
                    <a:lnTo>
                      <a:pt x="233" y="306"/>
                    </a:lnTo>
                    <a:lnTo>
                      <a:pt x="219" y="282"/>
                    </a:lnTo>
                    <a:lnTo>
                      <a:pt x="196" y="240"/>
                    </a:lnTo>
                    <a:lnTo>
                      <a:pt x="196" y="240"/>
                    </a:lnTo>
                    <a:close/>
                    <a:moveTo>
                      <a:pt x="0" y="222"/>
                    </a:moveTo>
                    <a:lnTo>
                      <a:pt x="0" y="222"/>
                    </a:lnTo>
                    <a:lnTo>
                      <a:pt x="7" y="231"/>
                    </a:lnTo>
                    <a:lnTo>
                      <a:pt x="11" y="242"/>
                    </a:lnTo>
                    <a:lnTo>
                      <a:pt x="11" y="246"/>
                    </a:lnTo>
                    <a:lnTo>
                      <a:pt x="11" y="252"/>
                    </a:lnTo>
                    <a:lnTo>
                      <a:pt x="10" y="256"/>
                    </a:lnTo>
                    <a:lnTo>
                      <a:pt x="7" y="260"/>
                    </a:lnTo>
                    <a:lnTo>
                      <a:pt x="7" y="260"/>
                    </a:lnTo>
                    <a:lnTo>
                      <a:pt x="8" y="260"/>
                    </a:lnTo>
                    <a:lnTo>
                      <a:pt x="11" y="262"/>
                    </a:lnTo>
                    <a:lnTo>
                      <a:pt x="16" y="262"/>
                    </a:lnTo>
                    <a:lnTo>
                      <a:pt x="17" y="260"/>
                    </a:lnTo>
                    <a:lnTo>
                      <a:pt x="19" y="257"/>
                    </a:lnTo>
                    <a:lnTo>
                      <a:pt x="19" y="257"/>
                    </a:lnTo>
                    <a:lnTo>
                      <a:pt x="22" y="251"/>
                    </a:lnTo>
                    <a:lnTo>
                      <a:pt x="22" y="242"/>
                    </a:lnTo>
                    <a:lnTo>
                      <a:pt x="20" y="237"/>
                    </a:lnTo>
                    <a:lnTo>
                      <a:pt x="19" y="231"/>
                    </a:lnTo>
                    <a:lnTo>
                      <a:pt x="16" y="226"/>
                    </a:lnTo>
                    <a:lnTo>
                      <a:pt x="10" y="220"/>
                    </a:lnTo>
                    <a:lnTo>
                      <a:pt x="10" y="220"/>
                    </a:lnTo>
                    <a:lnTo>
                      <a:pt x="0" y="222"/>
                    </a:lnTo>
                    <a:lnTo>
                      <a:pt x="0" y="2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52" name="Freeform 151">
                <a:extLst>
                  <a:ext uri="{FF2B5EF4-FFF2-40B4-BE49-F238E27FC236}">
                    <a16:creationId xmlns:a16="http://schemas.microsoft.com/office/drawing/2014/main" id="{801AD1BA-E769-4AE1-89F0-C5D526221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440" y="2487616"/>
                <a:ext cx="198426" cy="180288"/>
              </a:xfrm>
              <a:custGeom>
                <a:avLst/>
                <a:gdLst>
                  <a:gd name="T0" fmla="*/ 102 w 192"/>
                  <a:gd name="T1" fmla="*/ 58 h 200"/>
                  <a:gd name="T2" fmla="*/ 78 w 192"/>
                  <a:gd name="T3" fmla="*/ 34 h 200"/>
                  <a:gd name="T4" fmla="*/ 74 w 192"/>
                  <a:gd name="T5" fmla="*/ 32 h 200"/>
                  <a:gd name="T6" fmla="*/ 58 w 192"/>
                  <a:gd name="T7" fmla="*/ 28 h 200"/>
                  <a:gd name="T8" fmla="*/ 22 w 192"/>
                  <a:gd name="T9" fmla="*/ 2 h 200"/>
                  <a:gd name="T10" fmla="*/ 12 w 192"/>
                  <a:gd name="T11" fmla="*/ 0 h 200"/>
                  <a:gd name="T12" fmla="*/ 8 w 192"/>
                  <a:gd name="T13" fmla="*/ 0 h 200"/>
                  <a:gd name="T14" fmla="*/ 0 w 192"/>
                  <a:gd name="T15" fmla="*/ 16 h 200"/>
                  <a:gd name="T16" fmla="*/ 6 w 192"/>
                  <a:gd name="T17" fmla="*/ 28 h 200"/>
                  <a:gd name="T18" fmla="*/ 40 w 192"/>
                  <a:gd name="T19" fmla="*/ 56 h 200"/>
                  <a:gd name="T20" fmla="*/ 44 w 192"/>
                  <a:gd name="T21" fmla="*/ 64 h 200"/>
                  <a:gd name="T22" fmla="*/ 52 w 192"/>
                  <a:gd name="T23" fmla="*/ 76 h 200"/>
                  <a:gd name="T24" fmla="*/ 56 w 192"/>
                  <a:gd name="T25" fmla="*/ 76 h 200"/>
                  <a:gd name="T26" fmla="*/ 74 w 192"/>
                  <a:gd name="T27" fmla="*/ 68 h 200"/>
                  <a:gd name="T28" fmla="*/ 86 w 192"/>
                  <a:gd name="T29" fmla="*/ 64 h 200"/>
                  <a:gd name="T30" fmla="*/ 94 w 192"/>
                  <a:gd name="T31" fmla="*/ 68 h 200"/>
                  <a:gd name="T32" fmla="*/ 102 w 192"/>
                  <a:gd name="T33" fmla="*/ 76 h 200"/>
                  <a:gd name="T34" fmla="*/ 132 w 192"/>
                  <a:gd name="T35" fmla="*/ 108 h 200"/>
                  <a:gd name="T36" fmla="*/ 158 w 192"/>
                  <a:gd name="T37" fmla="*/ 138 h 200"/>
                  <a:gd name="T38" fmla="*/ 164 w 192"/>
                  <a:gd name="T39" fmla="*/ 152 h 200"/>
                  <a:gd name="T40" fmla="*/ 174 w 192"/>
                  <a:gd name="T41" fmla="*/ 186 h 200"/>
                  <a:gd name="T42" fmla="*/ 178 w 192"/>
                  <a:gd name="T43" fmla="*/ 198 h 200"/>
                  <a:gd name="T44" fmla="*/ 180 w 192"/>
                  <a:gd name="T45" fmla="*/ 198 h 200"/>
                  <a:gd name="T46" fmla="*/ 168 w 192"/>
                  <a:gd name="T47" fmla="*/ 160 h 200"/>
                  <a:gd name="T48" fmla="*/ 150 w 192"/>
                  <a:gd name="T49" fmla="*/ 106 h 200"/>
                  <a:gd name="T50" fmla="*/ 150 w 192"/>
                  <a:gd name="T51" fmla="*/ 98 h 200"/>
                  <a:gd name="T52" fmla="*/ 156 w 192"/>
                  <a:gd name="T53" fmla="*/ 84 h 200"/>
                  <a:gd name="T54" fmla="*/ 166 w 192"/>
                  <a:gd name="T55" fmla="*/ 76 h 200"/>
                  <a:gd name="T56" fmla="*/ 190 w 192"/>
                  <a:gd name="T57" fmla="*/ 70 h 200"/>
                  <a:gd name="T58" fmla="*/ 192 w 192"/>
                  <a:gd name="T59" fmla="*/ 70 h 200"/>
                  <a:gd name="T60" fmla="*/ 182 w 192"/>
                  <a:gd name="T61" fmla="*/ 64 h 200"/>
                  <a:gd name="T62" fmla="*/ 156 w 192"/>
                  <a:gd name="T63" fmla="*/ 52 h 200"/>
                  <a:gd name="T64" fmla="*/ 120 w 192"/>
                  <a:gd name="T65" fmla="*/ 36 h 200"/>
                  <a:gd name="T66" fmla="*/ 112 w 192"/>
                  <a:gd name="T67" fmla="*/ 32 h 200"/>
                  <a:gd name="T68" fmla="*/ 112 w 192"/>
                  <a:gd name="T69" fmla="*/ 36 h 200"/>
                  <a:gd name="T70" fmla="*/ 118 w 192"/>
                  <a:gd name="T71" fmla="*/ 56 h 200"/>
                  <a:gd name="T72" fmla="*/ 130 w 192"/>
                  <a:gd name="T73" fmla="*/ 76 h 200"/>
                  <a:gd name="T74" fmla="*/ 136 w 192"/>
                  <a:gd name="T75" fmla="*/ 90 h 200"/>
                  <a:gd name="T76" fmla="*/ 132 w 192"/>
                  <a:gd name="T77" fmla="*/ 98 h 200"/>
                  <a:gd name="T78" fmla="*/ 128 w 192"/>
                  <a:gd name="T79" fmla="*/ 94 h 200"/>
                  <a:gd name="T80" fmla="*/ 102 w 192"/>
                  <a:gd name="T81" fmla="*/ 58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2" h="200">
                    <a:moveTo>
                      <a:pt x="102" y="58"/>
                    </a:moveTo>
                    <a:lnTo>
                      <a:pt x="102" y="58"/>
                    </a:lnTo>
                    <a:lnTo>
                      <a:pt x="84" y="38"/>
                    </a:lnTo>
                    <a:lnTo>
                      <a:pt x="78" y="34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66" y="32"/>
                    </a:lnTo>
                    <a:lnTo>
                      <a:pt x="58" y="28"/>
                    </a:lnTo>
                    <a:lnTo>
                      <a:pt x="40" y="14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6" y="28"/>
                    </a:lnTo>
                    <a:lnTo>
                      <a:pt x="20" y="40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4" y="64"/>
                    </a:lnTo>
                    <a:lnTo>
                      <a:pt x="48" y="70"/>
                    </a:lnTo>
                    <a:lnTo>
                      <a:pt x="52" y="76"/>
                    </a:lnTo>
                    <a:lnTo>
                      <a:pt x="54" y="78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74" y="68"/>
                    </a:lnTo>
                    <a:lnTo>
                      <a:pt x="80" y="66"/>
                    </a:lnTo>
                    <a:lnTo>
                      <a:pt x="86" y="64"/>
                    </a:lnTo>
                    <a:lnTo>
                      <a:pt x="90" y="66"/>
                    </a:lnTo>
                    <a:lnTo>
                      <a:pt x="94" y="68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16" y="92"/>
                    </a:lnTo>
                    <a:lnTo>
                      <a:pt x="132" y="108"/>
                    </a:lnTo>
                    <a:lnTo>
                      <a:pt x="146" y="122"/>
                    </a:lnTo>
                    <a:lnTo>
                      <a:pt x="158" y="138"/>
                    </a:lnTo>
                    <a:lnTo>
                      <a:pt x="158" y="138"/>
                    </a:lnTo>
                    <a:lnTo>
                      <a:pt x="164" y="152"/>
                    </a:lnTo>
                    <a:lnTo>
                      <a:pt x="170" y="170"/>
                    </a:lnTo>
                    <a:lnTo>
                      <a:pt x="174" y="186"/>
                    </a:lnTo>
                    <a:lnTo>
                      <a:pt x="178" y="198"/>
                    </a:lnTo>
                    <a:lnTo>
                      <a:pt x="178" y="198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78" y="192"/>
                    </a:lnTo>
                    <a:lnTo>
                      <a:pt x="168" y="160"/>
                    </a:lnTo>
                    <a:lnTo>
                      <a:pt x="154" y="122"/>
                    </a:lnTo>
                    <a:lnTo>
                      <a:pt x="150" y="106"/>
                    </a:lnTo>
                    <a:lnTo>
                      <a:pt x="150" y="98"/>
                    </a:lnTo>
                    <a:lnTo>
                      <a:pt x="150" y="98"/>
                    </a:lnTo>
                    <a:lnTo>
                      <a:pt x="152" y="90"/>
                    </a:lnTo>
                    <a:lnTo>
                      <a:pt x="156" y="84"/>
                    </a:lnTo>
                    <a:lnTo>
                      <a:pt x="160" y="80"/>
                    </a:lnTo>
                    <a:lnTo>
                      <a:pt x="166" y="76"/>
                    </a:lnTo>
                    <a:lnTo>
                      <a:pt x="180" y="72"/>
                    </a:lnTo>
                    <a:lnTo>
                      <a:pt x="190" y="70"/>
                    </a:lnTo>
                    <a:lnTo>
                      <a:pt x="190" y="70"/>
                    </a:lnTo>
                    <a:lnTo>
                      <a:pt x="192" y="70"/>
                    </a:lnTo>
                    <a:lnTo>
                      <a:pt x="192" y="68"/>
                    </a:lnTo>
                    <a:lnTo>
                      <a:pt x="182" y="64"/>
                    </a:lnTo>
                    <a:lnTo>
                      <a:pt x="156" y="52"/>
                    </a:lnTo>
                    <a:lnTo>
                      <a:pt x="156" y="52"/>
                    </a:lnTo>
                    <a:lnTo>
                      <a:pt x="134" y="44"/>
                    </a:lnTo>
                    <a:lnTo>
                      <a:pt x="120" y="36"/>
                    </a:lnTo>
                    <a:lnTo>
                      <a:pt x="114" y="32"/>
                    </a:lnTo>
                    <a:lnTo>
                      <a:pt x="112" y="32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4" y="46"/>
                    </a:lnTo>
                    <a:lnTo>
                      <a:pt x="118" y="56"/>
                    </a:lnTo>
                    <a:lnTo>
                      <a:pt x="130" y="76"/>
                    </a:lnTo>
                    <a:lnTo>
                      <a:pt x="130" y="76"/>
                    </a:lnTo>
                    <a:lnTo>
                      <a:pt x="134" y="84"/>
                    </a:lnTo>
                    <a:lnTo>
                      <a:pt x="136" y="90"/>
                    </a:lnTo>
                    <a:lnTo>
                      <a:pt x="136" y="96"/>
                    </a:lnTo>
                    <a:lnTo>
                      <a:pt x="132" y="98"/>
                    </a:lnTo>
                    <a:lnTo>
                      <a:pt x="132" y="98"/>
                    </a:lnTo>
                    <a:lnTo>
                      <a:pt x="128" y="94"/>
                    </a:lnTo>
                    <a:lnTo>
                      <a:pt x="122" y="84"/>
                    </a:lnTo>
                    <a:lnTo>
                      <a:pt x="102" y="58"/>
                    </a:lnTo>
                    <a:lnTo>
                      <a:pt x="102" y="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FFFDD309-E242-4731-A048-9602BB396803}"/>
                  </a:ext>
                </a:extLst>
              </p:cNvPr>
              <p:cNvSpPr/>
              <p:nvPr/>
            </p:nvSpPr>
            <p:spPr>
              <a:xfrm>
                <a:off x="682751" y="3217970"/>
                <a:ext cx="2593849" cy="1368552"/>
              </a:xfrm>
              <a:prstGeom prst="rect">
                <a:avLst/>
              </a:prstGeom>
              <a:solidFill>
                <a:srgbClr val="FFFFFF"/>
              </a:solidFill>
              <a:ln w="6350">
                <a:noFill/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8C8CE68F-2BC9-4F67-AC9B-EB63CE68CC59}"/>
                  </a:ext>
                </a:extLst>
              </p:cNvPr>
              <p:cNvSpPr txBox="1"/>
              <p:nvPr/>
            </p:nvSpPr>
            <p:spPr>
              <a:xfrm>
                <a:off x="973673" y="3114721"/>
                <a:ext cx="1771478" cy="49244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85783">
                  <a:buClrTx/>
                  <a:defRPr/>
                </a:pPr>
                <a:r>
                  <a:rPr lang="en-GB" sz="2400" b="1" i="1" kern="1200">
                    <a:latin typeface="Georgia" pitchFamily="18" charset="0"/>
                    <a:ea typeface="+mn-ea"/>
                    <a:cs typeface="Arial" pitchFamily="34" charset="0"/>
                  </a:rPr>
                  <a:t>3 </a:t>
                </a:r>
                <a:r>
                  <a:rPr lang="en-GB" sz="1200" b="1" i="1" kern="1200">
                    <a:latin typeface="Georgia" pitchFamily="18" charset="0"/>
                    <a:ea typeface="+mn-ea"/>
                    <a:cs typeface="Arial" pitchFamily="34" charset="0"/>
                  </a:rPr>
                  <a:t>Structure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247BBE3-CEB4-42FE-82E8-8449CEAEC5B0}"/>
                  </a:ext>
                </a:extLst>
              </p:cNvPr>
              <p:cNvSpPr txBox="1"/>
              <p:nvPr/>
            </p:nvSpPr>
            <p:spPr>
              <a:xfrm>
                <a:off x="208672" y="3636817"/>
                <a:ext cx="3405588" cy="10772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algn="just" defTabSz="685783">
                  <a:buClrTx/>
                  <a:defRPr/>
                </a:pPr>
                <a:r>
                  <a:rPr lang="en-GB" sz="1050" kern="1200">
                    <a:latin typeface="Georgia"/>
                    <a:ea typeface="+mn-ea"/>
                  </a:rPr>
                  <a:t>Each block is identified by a hash, a 256-bit number, created using an algorithm agreed upon by the network. A block contains a header, a reference to the previous block and a group of transaction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02295656-F1F0-4729-924F-568740413383}"/>
                </a:ext>
              </a:extLst>
            </p:cNvPr>
            <p:cNvGrpSpPr/>
            <p:nvPr/>
          </p:nvGrpSpPr>
          <p:grpSpPr>
            <a:xfrm>
              <a:off x="6716681" y="2174785"/>
              <a:ext cx="731521" cy="893571"/>
              <a:chOff x="4455482" y="5366804"/>
              <a:chExt cx="731521" cy="893571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7A64854-8A7C-499A-9C01-9B068A64DAC0}"/>
                  </a:ext>
                </a:extLst>
              </p:cNvPr>
              <p:cNvSpPr/>
              <p:nvPr/>
            </p:nvSpPr>
            <p:spPr>
              <a:xfrm>
                <a:off x="4455483" y="5366804"/>
                <a:ext cx="731520" cy="893571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22827B1B-DFB8-4303-8F6B-B9C294C895E1}"/>
                  </a:ext>
                </a:extLst>
              </p:cNvPr>
              <p:cNvSpPr/>
              <p:nvPr/>
            </p:nvSpPr>
            <p:spPr>
              <a:xfrm>
                <a:off x="4455482" y="5366804"/>
                <a:ext cx="731520" cy="271996"/>
              </a:xfrm>
              <a:prstGeom prst="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r>
                  <a:rPr lang="en-GB" sz="675" kern="1200">
                    <a:solidFill>
                      <a:srgbClr val="FFFFFF"/>
                    </a:solidFill>
                    <a:latin typeface="Georgia"/>
                    <a:ea typeface="+mn-ea"/>
                    <a:cs typeface="+mn-cs"/>
                  </a:rPr>
                  <a:t>Block N</a:t>
                </a:r>
              </a:p>
            </p:txBody>
          </p:sp>
          <p:sp>
            <p:nvSpPr>
              <p:cNvPr id="48" name="Rounded Rectangle 234">
                <a:extLst>
                  <a:ext uri="{FF2B5EF4-FFF2-40B4-BE49-F238E27FC236}">
                    <a16:creationId xmlns:a16="http://schemas.microsoft.com/office/drawing/2014/main" id="{9AF95D31-02A0-421A-9C22-BB8FB88A0A22}"/>
                  </a:ext>
                </a:extLst>
              </p:cNvPr>
              <p:cNvSpPr/>
              <p:nvPr/>
            </p:nvSpPr>
            <p:spPr>
              <a:xfrm>
                <a:off x="4622135" y="6104265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9" name="Rounded Rectangle 235">
                <a:extLst>
                  <a:ext uri="{FF2B5EF4-FFF2-40B4-BE49-F238E27FC236}">
                    <a16:creationId xmlns:a16="http://schemas.microsoft.com/office/drawing/2014/main" id="{F83633A5-BB71-4128-883D-0B6C934C1497}"/>
                  </a:ext>
                </a:extLst>
              </p:cNvPr>
              <p:cNvSpPr/>
              <p:nvPr/>
            </p:nvSpPr>
            <p:spPr>
              <a:xfrm>
                <a:off x="4613152" y="5723265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50" name="Rounded Rectangle 236">
                <a:extLst>
                  <a:ext uri="{FF2B5EF4-FFF2-40B4-BE49-F238E27FC236}">
                    <a16:creationId xmlns:a16="http://schemas.microsoft.com/office/drawing/2014/main" id="{35C26E04-3592-4284-870A-4466B2269C3E}"/>
                  </a:ext>
                </a:extLst>
              </p:cNvPr>
              <p:cNvSpPr/>
              <p:nvPr/>
            </p:nvSpPr>
            <p:spPr>
              <a:xfrm>
                <a:off x="4613152" y="5921384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CE34EAF-59C6-495E-99C8-F8A734D43EB0}"/>
                </a:ext>
              </a:extLst>
            </p:cNvPr>
            <p:cNvGrpSpPr/>
            <p:nvPr/>
          </p:nvGrpSpPr>
          <p:grpSpPr>
            <a:xfrm>
              <a:off x="7637679" y="2175477"/>
              <a:ext cx="731521" cy="893571"/>
              <a:chOff x="4455482" y="5366804"/>
              <a:chExt cx="731521" cy="893571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225FF53-0A3B-4D70-8635-8F604EC6E9FA}"/>
                  </a:ext>
                </a:extLst>
              </p:cNvPr>
              <p:cNvSpPr/>
              <p:nvPr/>
            </p:nvSpPr>
            <p:spPr>
              <a:xfrm>
                <a:off x="4455483" y="5366804"/>
                <a:ext cx="731520" cy="893571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B011907E-7C4E-41C2-87D4-E804FE5FEB91}"/>
                  </a:ext>
                </a:extLst>
              </p:cNvPr>
              <p:cNvSpPr/>
              <p:nvPr/>
            </p:nvSpPr>
            <p:spPr>
              <a:xfrm>
                <a:off x="4455482" y="5366804"/>
                <a:ext cx="731520" cy="271996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r>
                  <a:rPr lang="en-GB" sz="675" kern="1200">
                    <a:solidFill>
                      <a:srgbClr val="FFFFFF"/>
                    </a:solidFill>
                    <a:latin typeface="Georgia"/>
                    <a:ea typeface="+mn-ea"/>
                    <a:cs typeface="+mn-cs"/>
                  </a:rPr>
                  <a:t>Block N+1</a:t>
                </a:r>
              </a:p>
            </p:txBody>
          </p:sp>
          <p:sp>
            <p:nvSpPr>
              <p:cNvPr id="43" name="Rounded Rectangle 229">
                <a:extLst>
                  <a:ext uri="{FF2B5EF4-FFF2-40B4-BE49-F238E27FC236}">
                    <a16:creationId xmlns:a16="http://schemas.microsoft.com/office/drawing/2014/main" id="{992C55EC-A828-462D-B496-76A2DBDC4825}"/>
                  </a:ext>
                </a:extLst>
              </p:cNvPr>
              <p:cNvSpPr/>
              <p:nvPr/>
            </p:nvSpPr>
            <p:spPr>
              <a:xfrm>
                <a:off x="4622135" y="6104265"/>
                <a:ext cx="416048" cy="45719"/>
              </a:xfrm>
              <a:prstGeom prst="roundRect">
                <a:avLst/>
              </a:prstGeom>
              <a:solidFill>
                <a:srgbClr val="FFFFFF">
                  <a:lumMod val="50000"/>
                </a:srgbClr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4" name="Rounded Rectangle 230">
                <a:extLst>
                  <a:ext uri="{FF2B5EF4-FFF2-40B4-BE49-F238E27FC236}">
                    <a16:creationId xmlns:a16="http://schemas.microsoft.com/office/drawing/2014/main" id="{A2B568EB-B2DF-46E2-A705-BD296E3D6234}"/>
                  </a:ext>
                </a:extLst>
              </p:cNvPr>
              <p:cNvSpPr/>
              <p:nvPr/>
            </p:nvSpPr>
            <p:spPr>
              <a:xfrm>
                <a:off x="4613152" y="5723265"/>
                <a:ext cx="416048" cy="45719"/>
              </a:xfrm>
              <a:prstGeom prst="roundRect">
                <a:avLst/>
              </a:prstGeom>
              <a:solidFill>
                <a:srgbClr val="FFFFFF">
                  <a:lumMod val="50000"/>
                </a:srgbClr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5" name="Rounded Rectangle 231">
                <a:extLst>
                  <a:ext uri="{FF2B5EF4-FFF2-40B4-BE49-F238E27FC236}">
                    <a16:creationId xmlns:a16="http://schemas.microsoft.com/office/drawing/2014/main" id="{D188ABEB-11ED-4582-B59B-739029C754C6}"/>
                  </a:ext>
                </a:extLst>
              </p:cNvPr>
              <p:cNvSpPr/>
              <p:nvPr/>
            </p:nvSpPr>
            <p:spPr>
              <a:xfrm>
                <a:off x="4613152" y="5921384"/>
                <a:ext cx="416048" cy="45719"/>
              </a:xfrm>
              <a:prstGeom prst="roundRect">
                <a:avLst/>
              </a:prstGeom>
              <a:solidFill>
                <a:srgbClr val="FFFFFF">
                  <a:lumMod val="50000"/>
                </a:srgbClr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3594E60-BDBA-442B-ADA0-8A6A43BA94D6}"/>
                </a:ext>
              </a:extLst>
            </p:cNvPr>
            <p:cNvGrpSpPr/>
            <p:nvPr/>
          </p:nvGrpSpPr>
          <p:grpSpPr>
            <a:xfrm>
              <a:off x="8541667" y="2185139"/>
              <a:ext cx="731521" cy="893571"/>
              <a:chOff x="4455482" y="5366804"/>
              <a:chExt cx="731521" cy="893571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F6445AC2-A87D-4E4D-BB2D-0B1D82B0F8AA}"/>
                  </a:ext>
                </a:extLst>
              </p:cNvPr>
              <p:cNvSpPr/>
              <p:nvPr/>
            </p:nvSpPr>
            <p:spPr>
              <a:xfrm>
                <a:off x="4455483" y="5366804"/>
                <a:ext cx="731520" cy="893571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338B712-B3C0-4EA9-B323-1B3F30E5AA1A}"/>
                  </a:ext>
                </a:extLst>
              </p:cNvPr>
              <p:cNvSpPr/>
              <p:nvPr/>
            </p:nvSpPr>
            <p:spPr>
              <a:xfrm>
                <a:off x="4455482" y="5366804"/>
                <a:ext cx="731520" cy="271996"/>
              </a:xfrm>
              <a:prstGeom prst="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r>
                  <a:rPr lang="en-GB" sz="675" kern="1200">
                    <a:solidFill>
                      <a:srgbClr val="FFFFFF"/>
                    </a:solidFill>
                    <a:latin typeface="Georgia"/>
                    <a:ea typeface="+mn-ea"/>
                    <a:cs typeface="+mn-cs"/>
                  </a:rPr>
                  <a:t>Block N+2</a:t>
                </a:r>
              </a:p>
            </p:txBody>
          </p:sp>
          <p:sp>
            <p:nvSpPr>
              <p:cNvPr id="38" name="Rounded Rectangle 224">
                <a:extLst>
                  <a:ext uri="{FF2B5EF4-FFF2-40B4-BE49-F238E27FC236}">
                    <a16:creationId xmlns:a16="http://schemas.microsoft.com/office/drawing/2014/main" id="{079DE138-412B-41B4-BFEB-4D23EE4E9305}"/>
                  </a:ext>
                </a:extLst>
              </p:cNvPr>
              <p:cNvSpPr/>
              <p:nvPr/>
            </p:nvSpPr>
            <p:spPr>
              <a:xfrm>
                <a:off x="4622135" y="6104265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39" name="Rounded Rectangle 225">
                <a:extLst>
                  <a:ext uri="{FF2B5EF4-FFF2-40B4-BE49-F238E27FC236}">
                    <a16:creationId xmlns:a16="http://schemas.microsoft.com/office/drawing/2014/main" id="{D3CC39C9-EAF7-46ED-8CF4-9AD9CF4E2FD0}"/>
                  </a:ext>
                </a:extLst>
              </p:cNvPr>
              <p:cNvSpPr/>
              <p:nvPr/>
            </p:nvSpPr>
            <p:spPr>
              <a:xfrm>
                <a:off x="4613152" y="5723265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  <p:sp>
            <p:nvSpPr>
              <p:cNvPr id="40" name="Rounded Rectangle 226">
                <a:extLst>
                  <a:ext uri="{FF2B5EF4-FFF2-40B4-BE49-F238E27FC236}">
                    <a16:creationId xmlns:a16="http://schemas.microsoft.com/office/drawing/2014/main" id="{E1F1A62F-B80C-4304-BA59-7680272566AC}"/>
                  </a:ext>
                </a:extLst>
              </p:cNvPr>
              <p:cNvSpPr/>
              <p:nvPr/>
            </p:nvSpPr>
            <p:spPr>
              <a:xfrm>
                <a:off x="4613152" y="5921384"/>
                <a:ext cx="416048" cy="45719"/>
              </a:xfrm>
              <a:prstGeom prst="roundRect">
                <a:avLst/>
              </a:prstGeom>
              <a:solidFill>
                <a:srgbClr val="E0301E"/>
              </a:solidFill>
              <a:ln w="6350">
                <a:solidFill>
                  <a:srgbClr val="000000"/>
                </a:solidFill>
              </a:ln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83">
                  <a:buClrTx/>
                  <a:defRPr/>
                </a:pPr>
                <a:endParaRPr lang="en-GB" sz="1350" kern="1200"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81A8DB0-179C-431E-B316-EB20F39B98A5}"/>
              </a:ext>
            </a:extLst>
          </p:cNvPr>
          <p:cNvGrpSpPr/>
          <p:nvPr/>
        </p:nvGrpSpPr>
        <p:grpSpPr>
          <a:xfrm>
            <a:off x="366985" y="3329082"/>
            <a:ext cx="2408822" cy="1469046"/>
            <a:chOff x="506009" y="2428707"/>
            <a:chExt cx="3211762" cy="1958728"/>
          </a:xfrm>
        </p:grpSpPr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0221FB41-6DE9-4C8B-BFFC-11E496CCAC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1829" y="2428707"/>
              <a:ext cx="327135" cy="439455"/>
            </a:xfrm>
            <a:custGeom>
              <a:avLst/>
              <a:gdLst>
                <a:gd name="T0" fmla="*/ 125 w 233"/>
                <a:gd name="T1" fmla="*/ 41 h 313"/>
                <a:gd name="T2" fmla="*/ 125 w 233"/>
                <a:gd name="T3" fmla="*/ 43 h 313"/>
                <a:gd name="T4" fmla="*/ 127 w 233"/>
                <a:gd name="T5" fmla="*/ 43 h 313"/>
                <a:gd name="T6" fmla="*/ 125 w 233"/>
                <a:gd name="T7" fmla="*/ 43 h 313"/>
                <a:gd name="T8" fmla="*/ 125 w 233"/>
                <a:gd name="T9" fmla="*/ 41 h 313"/>
                <a:gd name="T10" fmla="*/ 196 w 233"/>
                <a:gd name="T11" fmla="*/ 240 h 313"/>
                <a:gd name="T12" fmla="*/ 178 w 233"/>
                <a:gd name="T13" fmla="*/ 199 h 313"/>
                <a:gd name="T14" fmla="*/ 162 w 233"/>
                <a:gd name="T15" fmla="*/ 152 h 313"/>
                <a:gd name="T16" fmla="*/ 161 w 233"/>
                <a:gd name="T17" fmla="*/ 140 h 313"/>
                <a:gd name="T18" fmla="*/ 165 w 233"/>
                <a:gd name="T19" fmla="*/ 91 h 313"/>
                <a:gd name="T20" fmla="*/ 178 w 233"/>
                <a:gd name="T21" fmla="*/ 37 h 313"/>
                <a:gd name="T22" fmla="*/ 181 w 233"/>
                <a:gd name="T23" fmla="*/ 20 h 313"/>
                <a:gd name="T24" fmla="*/ 184 w 233"/>
                <a:gd name="T25" fmla="*/ 6 h 313"/>
                <a:gd name="T26" fmla="*/ 178 w 233"/>
                <a:gd name="T27" fmla="*/ 0 h 313"/>
                <a:gd name="T28" fmla="*/ 170 w 233"/>
                <a:gd name="T29" fmla="*/ 15 h 313"/>
                <a:gd name="T30" fmla="*/ 150 w 233"/>
                <a:gd name="T31" fmla="*/ 40 h 313"/>
                <a:gd name="T32" fmla="*/ 142 w 233"/>
                <a:gd name="T33" fmla="*/ 44 h 313"/>
                <a:gd name="T34" fmla="*/ 127 w 233"/>
                <a:gd name="T35" fmla="*/ 43 h 313"/>
                <a:gd name="T36" fmla="*/ 128 w 233"/>
                <a:gd name="T37" fmla="*/ 47 h 313"/>
                <a:gd name="T38" fmla="*/ 130 w 233"/>
                <a:gd name="T39" fmla="*/ 75 h 313"/>
                <a:gd name="T40" fmla="*/ 130 w 233"/>
                <a:gd name="T41" fmla="*/ 112 h 313"/>
                <a:gd name="T42" fmla="*/ 130 w 233"/>
                <a:gd name="T43" fmla="*/ 143 h 313"/>
                <a:gd name="T44" fmla="*/ 139 w 233"/>
                <a:gd name="T45" fmla="*/ 67 h 313"/>
                <a:gd name="T46" fmla="*/ 136 w 233"/>
                <a:gd name="T47" fmla="*/ 63 h 313"/>
                <a:gd name="T48" fmla="*/ 139 w 233"/>
                <a:gd name="T49" fmla="*/ 52 h 313"/>
                <a:gd name="T50" fmla="*/ 144 w 233"/>
                <a:gd name="T51" fmla="*/ 51 h 313"/>
                <a:gd name="T52" fmla="*/ 147 w 233"/>
                <a:gd name="T53" fmla="*/ 51 h 313"/>
                <a:gd name="T54" fmla="*/ 151 w 233"/>
                <a:gd name="T55" fmla="*/ 57 h 313"/>
                <a:gd name="T56" fmla="*/ 148 w 233"/>
                <a:gd name="T57" fmla="*/ 67 h 313"/>
                <a:gd name="T58" fmla="*/ 151 w 233"/>
                <a:gd name="T59" fmla="*/ 106 h 313"/>
                <a:gd name="T60" fmla="*/ 151 w 233"/>
                <a:gd name="T61" fmla="*/ 168 h 313"/>
                <a:gd name="T62" fmla="*/ 151 w 233"/>
                <a:gd name="T63" fmla="*/ 195 h 313"/>
                <a:gd name="T64" fmla="*/ 158 w 233"/>
                <a:gd name="T65" fmla="*/ 266 h 313"/>
                <a:gd name="T66" fmla="*/ 128 w 233"/>
                <a:gd name="T67" fmla="*/ 262 h 313"/>
                <a:gd name="T68" fmla="*/ 130 w 233"/>
                <a:gd name="T69" fmla="*/ 280 h 313"/>
                <a:gd name="T70" fmla="*/ 131 w 233"/>
                <a:gd name="T71" fmla="*/ 305 h 313"/>
                <a:gd name="T72" fmla="*/ 134 w 233"/>
                <a:gd name="T73" fmla="*/ 310 h 313"/>
                <a:gd name="T74" fmla="*/ 145 w 233"/>
                <a:gd name="T75" fmla="*/ 313 h 313"/>
                <a:gd name="T76" fmla="*/ 151 w 233"/>
                <a:gd name="T77" fmla="*/ 313 h 313"/>
                <a:gd name="T78" fmla="*/ 181 w 233"/>
                <a:gd name="T79" fmla="*/ 306 h 313"/>
                <a:gd name="T80" fmla="*/ 196 w 233"/>
                <a:gd name="T81" fmla="*/ 305 h 313"/>
                <a:gd name="T82" fmla="*/ 233 w 233"/>
                <a:gd name="T83" fmla="*/ 306 h 313"/>
                <a:gd name="T84" fmla="*/ 219 w 233"/>
                <a:gd name="T85" fmla="*/ 282 h 313"/>
                <a:gd name="T86" fmla="*/ 196 w 233"/>
                <a:gd name="T87" fmla="*/ 240 h 313"/>
                <a:gd name="T88" fmla="*/ 0 w 233"/>
                <a:gd name="T89" fmla="*/ 222 h 313"/>
                <a:gd name="T90" fmla="*/ 11 w 233"/>
                <a:gd name="T91" fmla="*/ 242 h 313"/>
                <a:gd name="T92" fmla="*/ 11 w 233"/>
                <a:gd name="T93" fmla="*/ 252 h 313"/>
                <a:gd name="T94" fmla="*/ 7 w 233"/>
                <a:gd name="T95" fmla="*/ 260 h 313"/>
                <a:gd name="T96" fmla="*/ 8 w 233"/>
                <a:gd name="T97" fmla="*/ 260 h 313"/>
                <a:gd name="T98" fmla="*/ 16 w 233"/>
                <a:gd name="T99" fmla="*/ 262 h 313"/>
                <a:gd name="T100" fmla="*/ 19 w 233"/>
                <a:gd name="T101" fmla="*/ 257 h 313"/>
                <a:gd name="T102" fmla="*/ 22 w 233"/>
                <a:gd name="T103" fmla="*/ 251 h 313"/>
                <a:gd name="T104" fmla="*/ 20 w 233"/>
                <a:gd name="T105" fmla="*/ 237 h 313"/>
                <a:gd name="T106" fmla="*/ 16 w 233"/>
                <a:gd name="T107" fmla="*/ 226 h 313"/>
                <a:gd name="T108" fmla="*/ 10 w 233"/>
                <a:gd name="T109" fmla="*/ 220 h 313"/>
                <a:gd name="T110" fmla="*/ 0 w 233"/>
                <a:gd name="T111" fmla="*/ 22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3" h="313">
                  <a:moveTo>
                    <a:pt x="125" y="41"/>
                  </a:moveTo>
                  <a:lnTo>
                    <a:pt x="125" y="41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5" y="41"/>
                  </a:lnTo>
                  <a:close/>
                  <a:moveTo>
                    <a:pt x="196" y="240"/>
                  </a:moveTo>
                  <a:lnTo>
                    <a:pt x="196" y="240"/>
                  </a:lnTo>
                  <a:lnTo>
                    <a:pt x="187" y="220"/>
                  </a:lnTo>
                  <a:lnTo>
                    <a:pt x="178" y="199"/>
                  </a:lnTo>
                  <a:lnTo>
                    <a:pt x="168" y="177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1" y="140"/>
                  </a:lnTo>
                  <a:lnTo>
                    <a:pt x="162" y="125"/>
                  </a:lnTo>
                  <a:lnTo>
                    <a:pt x="165" y="91"/>
                  </a:lnTo>
                  <a:lnTo>
                    <a:pt x="171" y="60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1" y="20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5" y="7"/>
                  </a:lnTo>
                  <a:lnTo>
                    <a:pt x="170" y="15"/>
                  </a:lnTo>
                  <a:lnTo>
                    <a:pt x="159" y="29"/>
                  </a:lnTo>
                  <a:lnTo>
                    <a:pt x="150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3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8" y="47"/>
                  </a:lnTo>
                  <a:lnTo>
                    <a:pt x="130" y="5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0" y="112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6" y="9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6" y="63"/>
                  </a:lnTo>
                  <a:lnTo>
                    <a:pt x="138" y="57"/>
                  </a:lnTo>
                  <a:lnTo>
                    <a:pt x="139" y="52"/>
                  </a:lnTo>
                  <a:lnTo>
                    <a:pt x="142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7" y="51"/>
                  </a:lnTo>
                  <a:lnTo>
                    <a:pt x="148" y="52"/>
                  </a:lnTo>
                  <a:lnTo>
                    <a:pt x="151" y="57"/>
                  </a:lnTo>
                  <a:lnTo>
                    <a:pt x="155" y="6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51" y="106"/>
                  </a:lnTo>
                  <a:lnTo>
                    <a:pt x="153" y="140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95"/>
                  </a:lnTo>
                  <a:lnTo>
                    <a:pt x="155" y="228"/>
                  </a:lnTo>
                  <a:lnTo>
                    <a:pt x="158" y="266"/>
                  </a:lnTo>
                  <a:lnTo>
                    <a:pt x="142" y="27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0" y="280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10"/>
                  </a:lnTo>
                  <a:lnTo>
                    <a:pt x="134" y="310"/>
                  </a:lnTo>
                  <a:lnTo>
                    <a:pt x="139" y="311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51" y="313"/>
                  </a:lnTo>
                  <a:lnTo>
                    <a:pt x="159" y="313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96" y="305"/>
                  </a:lnTo>
                  <a:lnTo>
                    <a:pt x="213" y="305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19" y="282"/>
                  </a:lnTo>
                  <a:lnTo>
                    <a:pt x="196" y="240"/>
                  </a:lnTo>
                  <a:lnTo>
                    <a:pt x="196" y="240"/>
                  </a:lnTo>
                  <a:close/>
                  <a:moveTo>
                    <a:pt x="0" y="222"/>
                  </a:moveTo>
                  <a:lnTo>
                    <a:pt x="0" y="222"/>
                  </a:lnTo>
                  <a:lnTo>
                    <a:pt x="7" y="231"/>
                  </a:lnTo>
                  <a:lnTo>
                    <a:pt x="11" y="242"/>
                  </a:lnTo>
                  <a:lnTo>
                    <a:pt x="11" y="246"/>
                  </a:lnTo>
                  <a:lnTo>
                    <a:pt x="11" y="252"/>
                  </a:lnTo>
                  <a:lnTo>
                    <a:pt x="10" y="256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8" y="260"/>
                  </a:lnTo>
                  <a:lnTo>
                    <a:pt x="11" y="262"/>
                  </a:lnTo>
                  <a:lnTo>
                    <a:pt x="16" y="262"/>
                  </a:lnTo>
                  <a:lnTo>
                    <a:pt x="17" y="260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22" y="251"/>
                  </a:lnTo>
                  <a:lnTo>
                    <a:pt x="22" y="242"/>
                  </a:lnTo>
                  <a:lnTo>
                    <a:pt x="20" y="237"/>
                  </a:lnTo>
                  <a:lnTo>
                    <a:pt x="19" y="231"/>
                  </a:lnTo>
                  <a:lnTo>
                    <a:pt x="16" y="226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0" y="222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58" name="Freeform 244">
              <a:extLst>
                <a:ext uri="{FF2B5EF4-FFF2-40B4-BE49-F238E27FC236}">
                  <a16:creationId xmlns:a16="http://schemas.microsoft.com/office/drawing/2014/main" id="{F09A457E-5EEA-4074-9A71-F77CE4829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440" y="2487616"/>
              <a:ext cx="198426" cy="180288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568E850-4A5D-43D3-A000-F6E76F13C9C3}"/>
                </a:ext>
              </a:extLst>
            </p:cNvPr>
            <p:cNvSpPr/>
            <p:nvPr/>
          </p:nvSpPr>
          <p:spPr>
            <a:xfrm>
              <a:off x="682751" y="3217970"/>
              <a:ext cx="2593849" cy="1169465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93656E5-21BA-4A03-9075-99984BDAF7DB}"/>
                </a:ext>
              </a:extLst>
            </p:cNvPr>
            <p:cNvSpPr txBox="1"/>
            <p:nvPr/>
          </p:nvSpPr>
          <p:spPr>
            <a:xfrm>
              <a:off x="1358427" y="3126494"/>
              <a:ext cx="1771478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783">
                <a:buClrTx/>
                <a:defRPr/>
              </a:pPr>
              <a:r>
                <a:rPr lang="en-GB" sz="2400" b="1" i="1" kern="1200">
                  <a:latin typeface="Georgia" pitchFamily="18" charset="0"/>
                  <a:ea typeface="+mn-ea"/>
                  <a:cs typeface="Arial" pitchFamily="34" charset="0"/>
                </a:rPr>
                <a:t>4 </a:t>
              </a:r>
              <a:r>
                <a:rPr lang="en-GB" sz="1200" b="1" i="1" kern="1200">
                  <a:latin typeface="Georgia" pitchFamily="18" charset="0"/>
                  <a:ea typeface="+mn-ea"/>
                  <a:cs typeface="Arial" pitchFamily="34" charset="0"/>
                </a:rPr>
                <a:t>Validation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E4AF153-320B-49B2-A39A-200757D5CF08}"/>
                </a:ext>
              </a:extLst>
            </p:cNvPr>
            <p:cNvSpPr txBox="1"/>
            <p:nvPr/>
          </p:nvSpPr>
          <p:spPr>
            <a:xfrm>
              <a:off x="506009" y="3683723"/>
              <a:ext cx="3211762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just" defTabSz="685783">
                <a:buClrTx/>
                <a:defRPr/>
              </a:pPr>
              <a:r>
                <a:rPr lang="en-GB" sz="1050" kern="1200">
                  <a:latin typeface="Georgia" pitchFamily="18" charset="0"/>
                  <a:ea typeface="+mn-ea"/>
                  <a:cs typeface="Arial" pitchFamily="34" charset="0"/>
                </a:rPr>
                <a:t>Blocks must first be validated. The most accepted form of validation for open source blockchain is proof of work.</a:t>
              </a:r>
            </a:p>
          </p:txBody>
        </p:sp>
      </p:grpSp>
      <p:sp>
        <p:nvSpPr>
          <p:cNvPr id="62" name="Oval 61">
            <a:extLst>
              <a:ext uri="{FF2B5EF4-FFF2-40B4-BE49-F238E27FC236}">
                <a16:creationId xmlns:a16="http://schemas.microsoft.com/office/drawing/2014/main" id="{24FA5644-58AF-44A3-A041-DE3D63A33B7B}"/>
              </a:ext>
            </a:extLst>
          </p:cNvPr>
          <p:cNvSpPr/>
          <p:nvPr/>
        </p:nvSpPr>
        <p:spPr>
          <a:xfrm>
            <a:off x="676520" y="3261647"/>
            <a:ext cx="183815" cy="158884"/>
          </a:xfrm>
          <a:prstGeom prst="ellips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2E7C802B-A2E2-46F5-802D-1774F701CD02}"/>
              </a:ext>
            </a:extLst>
          </p:cNvPr>
          <p:cNvSpPr/>
          <p:nvPr/>
        </p:nvSpPr>
        <p:spPr>
          <a:xfrm>
            <a:off x="698726" y="3443359"/>
            <a:ext cx="151698" cy="228041"/>
          </a:xfrm>
          <a:prstGeom prst="triangl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C37678A-BCBD-4109-ABB3-0A9E972BD3E2}"/>
              </a:ext>
            </a:extLst>
          </p:cNvPr>
          <p:cNvSpPr/>
          <p:nvPr/>
        </p:nvSpPr>
        <p:spPr>
          <a:xfrm>
            <a:off x="676519" y="3725779"/>
            <a:ext cx="187950" cy="140873"/>
          </a:xfrm>
          <a:prstGeom prst="rect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00E8311-C3A3-4410-BC93-0A1C71A25931}"/>
              </a:ext>
            </a:extLst>
          </p:cNvPr>
          <p:cNvSpPr/>
          <p:nvPr/>
        </p:nvSpPr>
        <p:spPr>
          <a:xfrm rot="2586673" flipH="1" flipV="1">
            <a:off x="993216" y="3298295"/>
            <a:ext cx="200144" cy="162571"/>
          </a:xfrm>
          <a:prstGeom prst="rect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132BD0A-37AB-459B-8F8A-B09F7C2C0954}"/>
              </a:ext>
            </a:extLst>
          </p:cNvPr>
          <p:cNvSpPr/>
          <p:nvPr/>
        </p:nvSpPr>
        <p:spPr>
          <a:xfrm>
            <a:off x="1311125" y="3309143"/>
            <a:ext cx="187950" cy="140873"/>
          </a:xfrm>
          <a:prstGeom prst="rect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AC7ACCC7-481B-4905-BC75-4B333DBCE288}"/>
              </a:ext>
            </a:extLst>
          </p:cNvPr>
          <p:cNvSpPr/>
          <p:nvPr/>
        </p:nvSpPr>
        <p:spPr>
          <a:xfrm>
            <a:off x="1630157" y="3259244"/>
            <a:ext cx="151698" cy="228041"/>
          </a:xfrm>
          <a:prstGeom prst="triangle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EA3F63A-8429-460D-A728-CE33B4703ADB}"/>
              </a:ext>
            </a:extLst>
          </p:cNvPr>
          <p:cNvSpPr/>
          <p:nvPr/>
        </p:nvSpPr>
        <p:spPr>
          <a:xfrm>
            <a:off x="1848803" y="3297705"/>
            <a:ext cx="183815" cy="158884"/>
          </a:xfrm>
          <a:prstGeom prst="ellips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95224F2-630A-42EB-BF1E-39A806464AFA}"/>
              </a:ext>
            </a:extLst>
          </p:cNvPr>
          <p:cNvSpPr/>
          <p:nvPr/>
        </p:nvSpPr>
        <p:spPr>
          <a:xfrm>
            <a:off x="2117124" y="3297851"/>
            <a:ext cx="187950" cy="140873"/>
          </a:xfrm>
          <a:prstGeom prst="rect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998ADED6-413C-4E9A-BD6D-3B3E51519EFE}"/>
              </a:ext>
            </a:extLst>
          </p:cNvPr>
          <p:cNvSpPr/>
          <p:nvPr/>
        </p:nvSpPr>
        <p:spPr>
          <a:xfrm>
            <a:off x="2397965" y="3288845"/>
            <a:ext cx="183815" cy="158884"/>
          </a:xfrm>
          <a:prstGeom prst="ellips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13B96FE-AEE5-4B07-AB63-C36896EC54B2}"/>
              </a:ext>
            </a:extLst>
          </p:cNvPr>
          <p:cNvSpPr/>
          <p:nvPr/>
        </p:nvSpPr>
        <p:spPr>
          <a:xfrm>
            <a:off x="2378687" y="3518642"/>
            <a:ext cx="187950" cy="140873"/>
          </a:xfrm>
          <a:prstGeom prst="rect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9455D20-6AC8-403A-AB46-B5A7AA9259EC}"/>
              </a:ext>
            </a:extLst>
          </p:cNvPr>
          <p:cNvSpPr/>
          <p:nvPr/>
        </p:nvSpPr>
        <p:spPr>
          <a:xfrm>
            <a:off x="2396813" y="3667312"/>
            <a:ext cx="151698" cy="228041"/>
          </a:xfrm>
          <a:prstGeom prst="triangl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2BEFA88-A863-46C8-B506-9475E782963A}"/>
              </a:ext>
            </a:extLst>
          </p:cNvPr>
          <p:cNvSpPr/>
          <p:nvPr/>
        </p:nvSpPr>
        <p:spPr>
          <a:xfrm rot="2586673" flipH="1" flipV="1">
            <a:off x="974092" y="3700702"/>
            <a:ext cx="200144" cy="162571"/>
          </a:xfrm>
          <a:prstGeom prst="rect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CCF512B-2F85-4508-B7D8-135901B3B9C7}"/>
              </a:ext>
            </a:extLst>
          </p:cNvPr>
          <p:cNvSpPr/>
          <p:nvPr/>
        </p:nvSpPr>
        <p:spPr>
          <a:xfrm>
            <a:off x="1292002" y="3711550"/>
            <a:ext cx="187950" cy="140873"/>
          </a:xfrm>
          <a:prstGeom prst="rect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55AE2141-08CA-4E83-9472-5718B1B913CE}"/>
              </a:ext>
            </a:extLst>
          </p:cNvPr>
          <p:cNvSpPr/>
          <p:nvPr/>
        </p:nvSpPr>
        <p:spPr>
          <a:xfrm>
            <a:off x="1611034" y="3661651"/>
            <a:ext cx="151698" cy="228041"/>
          </a:xfrm>
          <a:prstGeom prst="triangle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5E011B63-D454-44D7-B4C6-BC67C3114BD5}"/>
              </a:ext>
            </a:extLst>
          </p:cNvPr>
          <p:cNvSpPr/>
          <p:nvPr/>
        </p:nvSpPr>
        <p:spPr>
          <a:xfrm>
            <a:off x="1829680" y="3700113"/>
            <a:ext cx="183815" cy="158884"/>
          </a:xfrm>
          <a:prstGeom prst="ellipse">
            <a:avLst/>
          </a:prstGeom>
          <a:solidFill>
            <a:srgbClr val="E0301E"/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5100A7F-33F7-4D7C-9585-925EB9CCEFA9}"/>
              </a:ext>
            </a:extLst>
          </p:cNvPr>
          <p:cNvSpPr/>
          <p:nvPr/>
        </p:nvSpPr>
        <p:spPr>
          <a:xfrm>
            <a:off x="2098001" y="3700258"/>
            <a:ext cx="187950" cy="140873"/>
          </a:xfrm>
          <a:prstGeom prst="rect">
            <a:avLst/>
          </a:prstGeom>
          <a:solidFill>
            <a:srgbClr val="FFFFFF">
              <a:lumMod val="50000"/>
            </a:srgbClr>
          </a:solidFill>
          <a:ln w="6350">
            <a:noFill/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2945579-15EA-470D-8445-2E59E5FCEACE}"/>
              </a:ext>
            </a:extLst>
          </p:cNvPr>
          <p:cNvSpPr txBox="1"/>
          <p:nvPr/>
        </p:nvSpPr>
        <p:spPr>
          <a:xfrm>
            <a:off x="945556" y="3487285"/>
            <a:ext cx="1328660" cy="1615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685783">
              <a:buClrTx/>
            </a:pPr>
            <a:r>
              <a:rPr lang="en-GB" sz="1050" b="1" kern="1200">
                <a:latin typeface="Georgia" pitchFamily="18" charset="0"/>
                <a:ea typeface="+mn-ea"/>
                <a:cs typeface="Arial" pitchFamily="34" charset="0"/>
              </a:rPr>
              <a:t>Block N+3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B21ADD7C-B812-44EB-BB9A-8648F3CC0514}"/>
              </a:ext>
            </a:extLst>
          </p:cNvPr>
          <p:cNvGrpSpPr/>
          <p:nvPr/>
        </p:nvGrpSpPr>
        <p:grpSpPr>
          <a:xfrm>
            <a:off x="3347378" y="3369057"/>
            <a:ext cx="2475761" cy="1446911"/>
            <a:chOff x="425184" y="2428707"/>
            <a:chExt cx="3301015" cy="1929215"/>
          </a:xfrm>
        </p:grpSpPr>
        <p:sp>
          <p:nvSpPr>
            <p:cNvPr id="80" name="Freeform 40">
              <a:extLst>
                <a:ext uri="{FF2B5EF4-FFF2-40B4-BE49-F238E27FC236}">
                  <a16:creationId xmlns:a16="http://schemas.microsoft.com/office/drawing/2014/main" id="{3CB1281A-E74B-4419-A70B-F2A6BE79F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1829" y="2428707"/>
              <a:ext cx="327135" cy="439455"/>
            </a:xfrm>
            <a:custGeom>
              <a:avLst/>
              <a:gdLst>
                <a:gd name="T0" fmla="*/ 125 w 233"/>
                <a:gd name="T1" fmla="*/ 41 h 313"/>
                <a:gd name="T2" fmla="*/ 125 w 233"/>
                <a:gd name="T3" fmla="*/ 43 h 313"/>
                <a:gd name="T4" fmla="*/ 127 w 233"/>
                <a:gd name="T5" fmla="*/ 43 h 313"/>
                <a:gd name="T6" fmla="*/ 125 w 233"/>
                <a:gd name="T7" fmla="*/ 43 h 313"/>
                <a:gd name="T8" fmla="*/ 125 w 233"/>
                <a:gd name="T9" fmla="*/ 41 h 313"/>
                <a:gd name="T10" fmla="*/ 196 w 233"/>
                <a:gd name="T11" fmla="*/ 240 h 313"/>
                <a:gd name="T12" fmla="*/ 178 w 233"/>
                <a:gd name="T13" fmla="*/ 199 h 313"/>
                <a:gd name="T14" fmla="*/ 162 w 233"/>
                <a:gd name="T15" fmla="*/ 152 h 313"/>
                <a:gd name="T16" fmla="*/ 161 w 233"/>
                <a:gd name="T17" fmla="*/ 140 h 313"/>
                <a:gd name="T18" fmla="*/ 165 w 233"/>
                <a:gd name="T19" fmla="*/ 91 h 313"/>
                <a:gd name="T20" fmla="*/ 178 w 233"/>
                <a:gd name="T21" fmla="*/ 37 h 313"/>
                <a:gd name="T22" fmla="*/ 181 w 233"/>
                <a:gd name="T23" fmla="*/ 20 h 313"/>
                <a:gd name="T24" fmla="*/ 184 w 233"/>
                <a:gd name="T25" fmla="*/ 6 h 313"/>
                <a:gd name="T26" fmla="*/ 178 w 233"/>
                <a:gd name="T27" fmla="*/ 0 h 313"/>
                <a:gd name="T28" fmla="*/ 170 w 233"/>
                <a:gd name="T29" fmla="*/ 15 h 313"/>
                <a:gd name="T30" fmla="*/ 150 w 233"/>
                <a:gd name="T31" fmla="*/ 40 h 313"/>
                <a:gd name="T32" fmla="*/ 142 w 233"/>
                <a:gd name="T33" fmla="*/ 44 h 313"/>
                <a:gd name="T34" fmla="*/ 127 w 233"/>
                <a:gd name="T35" fmla="*/ 43 h 313"/>
                <a:gd name="T36" fmla="*/ 128 w 233"/>
                <a:gd name="T37" fmla="*/ 47 h 313"/>
                <a:gd name="T38" fmla="*/ 130 w 233"/>
                <a:gd name="T39" fmla="*/ 75 h 313"/>
                <a:gd name="T40" fmla="*/ 130 w 233"/>
                <a:gd name="T41" fmla="*/ 112 h 313"/>
                <a:gd name="T42" fmla="*/ 130 w 233"/>
                <a:gd name="T43" fmla="*/ 143 h 313"/>
                <a:gd name="T44" fmla="*/ 139 w 233"/>
                <a:gd name="T45" fmla="*/ 67 h 313"/>
                <a:gd name="T46" fmla="*/ 136 w 233"/>
                <a:gd name="T47" fmla="*/ 63 h 313"/>
                <a:gd name="T48" fmla="*/ 139 w 233"/>
                <a:gd name="T49" fmla="*/ 52 h 313"/>
                <a:gd name="T50" fmla="*/ 144 w 233"/>
                <a:gd name="T51" fmla="*/ 51 h 313"/>
                <a:gd name="T52" fmla="*/ 147 w 233"/>
                <a:gd name="T53" fmla="*/ 51 h 313"/>
                <a:gd name="T54" fmla="*/ 151 w 233"/>
                <a:gd name="T55" fmla="*/ 57 h 313"/>
                <a:gd name="T56" fmla="*/ 148 w 233"/>
                <a:gd name="T57" fmla="*/ 67 h 313"/>
                <a:gd name="T58" fmla="*/ 151 w 233"/>
                <a:gd name="T59" fmla="*/ 106 h 313"/>
                <a:gd name="T60" fmla="*/ 151 w 233"/>
                <a:gd name="T61" fmla="*/ 168 h 313"/>
                <a:gd name="T62" fmla="*/ 151 w 233"/>
                <a:gd name="T63" fmla="*/ 195 h 313"/>
                <a:gd name="T64" fmla="*/ 158 w 233"/>
                <a:gd name="T65" fmla="*/ 266 h 313"/>
                <a:gd name="T66" fmla="*/ 128 w 233"/>
                <a:gd name="T67" fmla="*/ 262 h 313"/>
                <a:gd name="T68" fmla="*/ 130 w 233"/>
                <a:gd name="T69" fmla="*/ 280 h 313"/>
                <a:gd name="T70" fmla="*/ 131 w 233"/>
                <a:gd name="T71" fmla="*/ 305 h 313"/>
                <a:gd name="T72" fmla="*/ 134 w 233"/>
                <a:gd name="T73" fmla="*/ 310 h 313"/>
                <a:gd name="T74" fmla="*/ 145 w 233"/>
                <a:gd name="T75" fmla="*/ 313 h 313"/>
                <a:gd name="T76" fmla="*/ 151 w 233"/>
                <a:gd name="T77" fmla="*/ 313 h 313"/>
                <a:gd name="T78" fmla="*/ 181 w 233"/>
                <a:gd name="T79" fmla="*/ 306 h 313"/>
                <a:gd name="T80" fmla="*/ 196 w 233"/>
                <a:gd name="T81" fmla="*/ 305 h 313"/>
                <a:gd name="T82" fmla="*/ 233 w 233"/>
                <a:gd name="T83" fmla="*/ 306 h 313"/>
                <a:gd name="T84" fmla="*/ 219 w 233"/>
                <a:gd name="T85" fmla="*/ 282 h 313"/>
                <a:gd name="T86" fmla="*/ 196 w 233"/>
                <a:gd name="T87" fmla="*/ 240 h 313"/>
                <a:gd name="T88" fmla="*/ 0 w 233"/>
                <a:gd name="T89" fmla="*/ 222 h 313"/>
                <a:gd name="T90" fmla="*/ 11 w 233"/>
                <a:gd name="T91" fmla="*/ 242 h 313"/>
                <a:gd name="T92" fmla="*/ 11 w 233"/>
                <a:gd name="T93" fmla="*/ 252 h 313"/>
                <a:gd name="T94" fmla="*/ 7 w 233"/>
                <a:gd name="T95" fmla="*/ 260 h 313"/>
                <a:gd name="T96" fmla="*/ 8 w 233"/>
                <a:gd name="T97" fmla="*/ 260 h 313"/>
                <a:gd name="T98" fmla="*/ 16 w 233"/>
                <a:gd name="T99" fmla="*/ 262 h 313"/>
                <a:gd name="T100" fmla="*/ 19 w 233"/>
                <a:gd name="T101" fmla="*/ 257 h 313"/>
                <a:gd name="T102" fmla="*/ 22 w 233"/>
                <a:gd name="T103" fmla="*/ 251 h 313"/>
                <a:gd name="T104" fmla="*/ 20 w 233"/>
                <a:gd name="T105" fmla="*/ 237 h 313"/>
                <a:gd name="T106" fmla="*/ 16 w 233"/>
                <a:gd name="T107" fmla="*/ 226 h 313"/>
                <a:gd name="T108" fmla="*/ 10 w 233"/>
                <a:gd name="T109" fmla="*/ 220 h 313"/>
                <a:gd name="T110" fmla="*/ 0 w 233"/>
                <a:gd name="T111" fmla="*/ 22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3" h="313">
                  <a:moveTo>
                    <a:pt x="125" y="41"/>
                  </a:moveTo>
                  <a:lnTo>
                    <a:pt x="125" y="41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5" y="41"/>
                  </a:lnTo>
                  <a:close/>
                  <a:moveTo>
                    <a:pt x="196" y="240"/>
                  </a:moveTo>
                  <a:lnTo>
                    <a:pt x="196" y="240"/>
                  </a:lnTo>
                  <a:lnTo>
                    <a:pt x="187" y="220"/>
                  </a:lnTo>
                  <a:lnTo>
                    <a:pt x="178" y="199"/>
                  </a:lnTo>
                  <a:lnTo>
                    <a:pt x="168" y="177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1" y="140"/>
                  </a:lnTo>
                  <a:lnTo>
                    <a:pt x="162" y="125"/>
                  </a:lnTo>
                  <a:lnTo>
                    <a:pt x="165" y="91"/>
                  </a:lnTo>
                  <a:lnTo>
                    <a:pt x="171" y="60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1" y="20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5" y="7"/>
                  </a:lnTo>
                  <a:lnTo>
                    <a:pt x="170" y="15"/>
                  </a:lnTo>
                  <a:lnTo>
                    <a:pt x="159" y="29"/>
                  </a:lnTo>
                  <a:lnTo>
                    <a:pt x="150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3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8" y="47"/>
                  </a:lnTo>
                  <a:lnTo>
                    <a:pt x="130" y="5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0" y="112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6" y="9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6" y="63"/>
                  </a:lnTo>
                  <a:lnTo>
                    <a:pt x="138" y="57"/>
                  </a:lnTo>
                  <a:lnTo>
                    <a:pt x="139" y="52"/>
                  </a:lnTo>
                  <a:lnTo>
                    <a:pt x="142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7" y="51"/>
                  </a:lnTo>
                  <a:lnTo>
                    <a:pt x="148" y="52"/>
                  </a:lnTo>
                  <a:lnTo>
                    <a:pt x="151" y="57"/>
                  </a:lnTo>
                  <a:lnTo>
                    <a:pt x="155" y="6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51" y="106"/>
                  </a:lnTo>
                  <a:lnTo>
                    <a:pt x="153" y="140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95"/>
                  </a:lnTo>
                  <a:lnTo>
                    <a:pt x="155" y="228"/>
                  </a:lnTo>
                  <a:lnTo>
                    <a:pt x="158" y="266"/>
                  </a:lnTo>
                  <a:lnTo>
                    <a:pt x="142" y="27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0" y="280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10"/>
                  </a:lnTo>
                  <a:lnTo>
                    <a:pt x="134" y="310"/>
                  </a:lnTo>
                  <a:lnTo>
                    <a:pt x="139" y="311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51" y="313"/>
                  </a:lnTo>
                  <a:lnTo>
                    <a:pt x="159" y="313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96" y="305"/>
                  </a:lnTo>
                  <a:lnTo>
                    <a:pt x="213" y="305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19" y="282"/>
                  </a:lnTo>
                  <a:lnTo>
                    <a:pt x="196" y="240"/>
                  </a:lnTo>
                  <a:lnTo>
                    <a:pt x="196" y="240"/>
                  </a:lnTo>
                  <a:close/>
                  <a:moveTo>
                    <a:pt x="0" y="222"/>
                  </a:moveTo>
                  <a:lnTo>
                    <a:pt x="0" y="222"/>
                  </a:lnTo>
                  <a:lnTo>
                    <a:pt x="7" y="231"/>
                  </a:lnTo>
                  <a:lnTo>
                    <a:pt x="11" y="242"/>
                  </a:lnTo>
                  <a:lnTo>
                    <a:pt x="11" y="246"/>
                  </a:lnTo>
                  <a:lnTo>
                    <a:pt x="11" y="252"/>
                  </a:lnTo>
                  <a:lnTo>
                    <a:pt x="10" y="256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8" y="260"/>
                  </a:lnTo>
                  <a:lnTo>
                    <a:pt x="11" y="262"/>
                  </a:lnTo>
                  <a:lnTo>
                    <a:pt x="16" y="262"/>
                  </a:lnTo>
                  <a:lnTo>
                    <a:pt x="17" y="260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22" y="251"/>
                  </a:lnTo>
                  <a:lnTo>
                    <a:pt x="22" y="242"/>
                  </a:lnTo>
                  <a:lnTo>
                    <a:pt x="20" y="237"/>
                  </a:lnTo>
                  <a:lnTo>
                    <a:pt x="19" y="231"/>
                  </a:lnTo>
                  <a:lnTo>
                    <a:pt x="16" y="226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0" y="222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81" name="Freeform 151">
              <a:extLst>
                <a:ext uri="{FF2B5EF4-FFF2-40B4-BE49-F238E27FC236}">
                  <a16:creationId xmlns:a16="http://schemas.microsoft.com/office/drawing/2014/main" id="{90B52B9D-2F0F-4D6D-AE3A-862AB7893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440" y="2487616"/>
              <a:ext cx="198426" cy="180288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07A4DC7-4FAA-4A92-8688-6BE779373875}"/>
                </a:ext>
              </a:extLst>
            </p:cNvPr>
            <p:cNvSpPr/>
            <p:nvPr/>
          </p:nvSpPr>
          <p:spPr>
            <a:xfrm>
              <a:off x="682751" y="3217970"/>
              <a:ext cx="2593849" cy="1139952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8A51EA2-E378-4941-8FC5-14EDE56FC72D}"/>
                </a:ext>
              </a:extLst>
            </p:cNvPr>
            <p:cNvSpPr txBox="1"/>
            <p:nvPr/>
          </p:nvSpPr>
          <p:spPr>
            <a:xfrm>
              <a:off x="888396" y="3114722"/>
              <a:ext cx="1965540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783">
                <a:buClrTx/>
                <a:defRPr/>
              </a:pPr>
              <a:r>
                <a:rPr lang="en-GB" sz="2400" b="1" i="1" kern="1200">
                  <a:latin typeface="Georgia" pitchFamily="18" charset="0"/>
                  <a:ea typeface="+mn-ea"/>
                  <a:cs typeface="Arial" pitchFamily="34" charset="0"/>
                </a:rPr>
                <a:t>5 </a:t>
              </a:r>
              <a:r>
                <a:rPr lang="en-GB" sz="1200" b="1" i="1" kern="1200">
                  <a:latin typeface="Georgia" pitchFamily="18" charset="0"/>
                  <a:ea typeface="+mn-ea"/>
                  <a:cs typeface="Arial" pitchFamily="34" charset="0"/>
                </a:rPr>
                <a:t>Block Proposal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D1F9D1A-41BF-4F98-AE18-B5D03E602950}"/>
                </a:ext>
              </a:extLst>
            </p:cNvPr>
            <p:cNvSpPr txBox="1"/>
            <p:nvPr/>
          </p:nvSpPr>
          <p:spPr>
            <a:xfrm>
              <a:off x="425184" y="3653835"/>
              <a:ext cx="3301015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just" defTabSz="685783">
                <a:buClrTx/>
                <a:defRPr/>
              </a:pPr>
              <a:r>
                <a:rPr lang="en-GB" sz="1050" kern="1200">
                  <a:latin typeface="Georgia" pitchFamily="18" charset="0"/>
                  <a:ea typeface="+mn-ea"/>
                  <a:cs typeface="Arial" pitchFamily="34" charset="0"/>
                </a:rPr>
                <a:t>Validators try to propose the next block by following the parameters set by the consensus algorithm</a:t>
              </a:r>
            </a:p>
          </p:txBody>
        </p:sp>
      </p:grpSp>
      <p:sp>
        <p:nvSpPr>
          <p:cNvPr id="85" name="Freeform 30">
            <a:extLst>
              <a:ext uri="{FF2B5EF4-FFF2-40B4-BE49-F238E27FC236}">
                <a16:creationId xmlns:a16="http://schemas.microsoft.com/office/drawing/2014/main" id="{B49BDCF3-4C61-4B25-9B9D-506EE49283F5}"/>
              </a:ext>
            </a:extLst>
          </p:cNvPr>
          <p:cNvSpPr>
            <a:spLocks/>
          </p:cNvSpPr>
          <p:nvPr/>
        </p:nvSpPr>
        <p:spPr bwMode="auto">
          <a:xfrm>
            <a:off x="3586984" y="3260425"/>
            <a:ext cx="224747" cy="275762"/>
          </a:xfrm>
          <a:custGeom>
            <a:avLst/>
            <a:gdLst>
              <a:gd name="T0" fmla="*/ 1993 w 1552"/>
              <a:gd name="T1" fmla="*/ 377 h 1870"/>
              <a:gd name="T2" fmla="*/ 1292 w 1552"/>
              <a:gd name="T3" fmla="*/ 362 h 1870"/>
              <a:gd name="T4" fmla="*/ 1295 w 1552"/>
              <a:gd name="T5" fmla="*/ 336 h 1870"/>
              <a:gd name="T6" fmla="*/ 1347 w 1552"/>
              <a:gd name="T7" fmla="*/ 284 h 1870"/>
              <a:gd name="T8" fmla="*/ 1398 w 1552"/>
              <a:gd name="T9" fmla="*/ 233 h 1870"/>
              <a:gd name="T10" fmla="*/ 1419 w 1552"/>
              <a:gd name="T11" fmla="*/ 176 h 1870"/>
              <a:gd name="T12" fmla="*/ 1414 w 1552"/>
              <a:gd name="T13" fmla="*/ 112 h 1870"/>
              <a:gd name="T14" fmla="*/ 1379 w 1552"/>
              <a:gd name="T15" fmla="*/ 61 h 1870"/>
              <a:gd name="T16" fmla="*/ 1318 w 1552"/>
              <a:gd name="T17" fmla="*/ 22 h 1870"/>
              <a:gd name="T18" fmla="*/ 1240 w 1552"/>
              <a:gd name="T19" fmla="*/ 1 h 1870"/>
              <a:gd name="T20" fmla="*/ 1148 w 1552"/>
              <a:gd name="T21" fmla="*/ 8 h 1870"/>
              <a:gd name="T22" fmla="*/ 1065 w 1552"/>
              <a:gd name="T23" fmla="*/ 43 h 1870"/>
              <a:gd name="T24" fmla="*/ 1008 w 1552"/>
              <a:gd name="T25" fmla="*/ 104 h 1870"/>
              <a:gd name="T26" fmla="*/ 991 w 1552"/>
              <a:gd name="T27" fmla="*/ 175 h 1870"/>
              <a:gd name="T28" fmla="*/ 1016 w 1552"/>
              <a:gd name="T29" fmla="*/ 237 h 1870"/>
              <a:gd name="T30" fmla="*/ 1058 w 1552"/>
              <a:gd name="T31" fmla="*/ 279 h 1870"/>
              <a:gd name="T32" fmla="*/ 1092 w 1552"/>
              <a:gd name="T33" fmla="*/ 310 h 1870"/>
              <a:gd name="T34" fmla="*/ 1106 w 1552"/>
              <a:gd name="T35" fmla="*/ 353 h 1870"/>
              <a:gd name="T36" fmla="*/ 454 w 1552"/>
              <a:gd name="T37" fmla="*/ 379 h 1870"/>
              <a:gd name="T38" fmla="*/ 444 w 1552"/>
              <a:gd name="T39" fmla="*/ 1380 h 1870"/>
              <a:gd name="T40" fmla="*/ 422 w 1552"/>
              <a:gd name="T41" fmla="*/ 1384 h 1870"/>
              <a:gd name="T42" fmla="*/ 382 w 1552"/>
              <a:gd name="T43" fmla="*/ 1367 h 1870"/>
              <a:gd name="T44" fmla="*/ 305 w 1552"/>
              <a:gd name="T45" fmla="*/ 1309 h 1870"/>
              <a:gd name="T46" fmla="*/ 249 w 1552"/>
              <a:gd name="T47" fmla="*/ 1285 h 1870"/>
              <a:gd name="T48" fmla="*/ 172 w 1552"/>
              <a:gd name="T49" fmla="*/ 1275 h 1870"/>
              <a:gd name="T50" fmla="*/ 103 w 1552"/>
              <a:gd name="T51" fmla="*/ 1295 h 1870"/>
              <a:gd name="T52" fmla="*/ 48 w 1552"/>
              <a:gd name="T53" fmla="*/ 1336 h 1870"/>
              <a:gd name="T54" fmla="*/ 11 w 1552"/>
              <a:gd name="T55" fmla="*/ 1394 h 1870"/>
              <a:gd name="T56" fmla="*/ 0 w 1552"/>
              <a:gd name="T57" fmla="*/ 1467 h 1870"/>
              <a:gd name="T58" fmla="*/ 27 w 1552"/>
              <a:gd name="T59" fmla="*/ 1544 h 1870"/>
              <a:gd name="T60" fmla="*/ 87 w 1552"/>
              <a:gd name="T61" fmla="*/ 1604 h 1870"/>
              <a:gd name="T62" fmla="*/ 168 w 1552"/>
              <a:gd name="T63" fmla="*/ 1634 h 1870"/>
              <a:gd name="T64" fmla="*/ 256 w 1552"/>
              <a:gd name="T65" fmla="*/ 1626 h 1870"/>
              <a:gd name="T66" fmla="*/ 313 w 1552"/>
              <a:gd name="T67" fmla="*/ 1597 h 1870"/>
              <a:gd name="T68" fmla="*/ 358 w 1552"/>
              <a:gd name="T69" fmla="*/ 1558 h 1870"/>
              <a:gd name="T70" fmla="*/ 389 w 1552"/>
              <a:gd name="T71" fmla="*/ 1542 h 1870"/>
              <a:gd name="T72" fmla="*/ 446 w 1552"/>
              <a:gd name="T73" fmla="*/ 1535 h 1870"/>
              <a:gd name="T74" fmla="*/ 457 w 1552"/>
              <a:gd name="T75" fmla="*/ 2502 h 1870"/>
              <a:gd name="T76" fmla="*/ 471 w 1552"/>
              <a:gd name="T77" fmla="*/ 2504 h 1870"/>
              <a:gd name="T78" fmla="*/ 2013 w 1552"/>
              <a:gd name="T79" fmla="*/ 2499 h 1870"/>
              <a:gd name="T80" fmla="*/ 2048 w 1552"/>
              <a:gd name="T81" fmla="*/ 1515 h 1870"/>
              <a:gd name="T82" fmla="*/ 2112 w 1552"/>
              <a:gd name="T83" fmla="*/ 1531 h 1870"/>
              <a:gd name="T84" fmla="*/ 2146 w 1552"/>
              <a:gd name="T85" fmla="*/ 1561 h 1870"/>
              <a:gd name="T86" fmla="*/ 2196 w 1552"/>
              <a:gd name="T87" fmla="*/ 1595 h 1870"/>
              <a:gd name="T88" fmla="*/ 2275 w 1552"/>
              <a:gd name="T89" fmla="*/ 1615 h 1870"/>
              <a:gd name="T90" fmla="*/ 2366 w 1552"/>
              <a:gd name="T91" fmla="*/ 1601 h 1870"/>
              <a:gd name="T92" fmla="*/ 2435 w 1552"/>
              <a:gd name="T93" fmla="*/ 1553 h 1870"/>
              <a:gd name="T94" fmla="*/ 2475 w 1552"/>
              <a:gd name="T95" fmla="*/ 1483 h 1870"/>
              <a:gd name="T96" fmla="*/ 2480 w 1552"/>
              <a:gd name="T97" fmla="*/ 1406 h 1870"/>
              <a:gd name="T98" fmla="*/ 2454 w 1552"/>
              <a:gd name="T99" fmla="*/ 1341 h 1870"/>
              <a:gd name="T100" fmla="*/ 2404 w 1552"/>
              <a:gd name="T101" fmla="*/ 1290 h 1870"/>
              <a:gd name="T102" fmla="*/ 2340 w 1552"/>
              <a:gd name="T103" fmla="*/ 1259 h 1870"/>
              <a:gd name="T104" fmla="*/ 2262 w 1552"/>
              <a:gd name="T105" fmla="*/ 1255 h 1870"/>
              <a:gd name="T106" fmla="*/ 2204 w 1552"/>
              <a:gd name="T107" fmla="*/ 1267 h 1870"/>
              <a:gd name="T108" fmla="*/ 2154 w 1552"/>
              <a:gd name="T109" fmla="*/ 1298 h 1870"/>
              <a:gd name="T110" fmla="*/ 2087 w 1552"/>
              <a:gd name="T111" fmla="*/ 1347 h 1870"/>
              <a:gd name="T112" fmla="*/ 2036 w 1552"/>
              <a:gd name="T113" fmla="*/ 1348 h 1870"/>
              <a:gd name="T114" fmla="*/ 2013 w 1552"/>
              <a:gd name="T115" fmla="*/ 388 h 1870"/>
              <a:gd name="T116" fmla="*/ 2002 w 1552"/>
              <a:gd name="T117" fmla="*/ 378 h 187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552"/>
              <a:gd name="T178" fmla="*/ 0 h 1870"/>
              <a:gd name="T179" fmla="*/ 1552 w 1552"/>
              <a:gd name="T180" fmla="*/ 1870 h 187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552" h="1870">
                <a:moveTo>
                  <a:pt x="1252" y="282"/>
                </a:moveTo>
                <a:lnTo>
                  <a:pt x="1248" y="282"/>
                </a:lnTo>
                <a:lnTo>
                  <a:pt x="1248" y="281"/>
                </a:lnTo>
                <a:lnTo>
                  <a:pt x="1247" y="281"/>
                </a:lnTo>
                <a:lnTo>
                  <a:pt x="1246" y="281"/>
                </a:lnTo>
                <a:lnTo>
                  <a:pt x="809" y="281"/>
                </a:lnTo>
                <a:lnTo>
                  <a:pt x="809" y="280"/>
                </a:lnTo>
                <a:lnTo>
                  <a:pt x="808" y="278"/>
                </a:lnTo>
                <a:lnTo>
                  <a:pt x="808" y="276"/>
                </a:lnTo>
                <a:lnTo>
                  <a:pt x="808" y="275"/>
                </a:lnTo>
                <a:lnTo>
                  <a:pt x="808" y="273"/>
                </a:lnTo>
                <a:lnTo>
                  <a:pt x="808" y="272"/>
                </a:lnTo>
                <a:lnTo>
                  <a:pt x="808" y="270"/>
                </a:lnTo>
                <a:lnTo>
                  <a:pt x="807" y="270"/>
                </a:lnTo>
                <a:lnTo>
                  <a:pt x="807" y="266"/>
                </a:lnTo>
                <a:lnTo>
                  <a:pt x="807" y="264"/>
                </a:lnTo>
                <a:lnTo>
                  <a:pt x="808" y="261"/>
                </a:lnTo>
                <a:lnTo>
                  <a:pt x="808" y="258"/>
                </a:lnTo>
                <a:lnTo>
                  <a:pt x="808" y="256"/>
                </a:lnTo>
                <a:lnTo>
                  <a:pt x="809" y="253"/>
                </a:lnTo>
                <a:lnTo>
                  <a:pt x="810" y="251"/>
                </a:lnTo>
                <a:lnTo>
                  <a:pt x="811" y="249"/>
                </a:lnTo>
                <a:lnTo>
                  <a:pt x="814" y="244"/>
                </a:lnTo>
                <a:lnTo>
                  <a:pt x="817" y="240"/>
                </a:lnTo>
                <a:lnTo>
                  <a:pt x="820" y="237"/>
                </a:lnTo>
                <a:lnTo>
                  <a:pt x="823" y="233"/>
                </a:lnTo>
                <a:lnTo>
                  <a:pt x="829" y="226"/>
                </a:lnTo>
                <a:lnTo>
                  <a:pt x="836" y="219"/>
                </a:lnTo>
                <a:lnTo>
                  <a:pt x="842" y="212"/>
                </a:lnTo>
                <a:lnTo>
                  <a:pt x="848" y="206"/>
                </a:lnTo>
                <a:lnTo>
                  <a:pt x="855" y="199"/>
                </a:lnTo>
                <a:lnTo>
                  <a:pt x="861" y="192"/>
                </a:lnTo>
                <a:lnTo>
                  <a:pt x="864" y="188"/>
                </a:lnTo>
                <a:lnTo>
                  <a:pt x="866" y="185"/>
                </a:lnTo>
                <a:lnTo>
                  <a:pt x="869" y="181"/>
                </a:lnTo>
                <a:lnTo>
                  <a:pt x="871" y="177"/>
                </a:lnTo>
                <a:lnTo>
                  <a:pt x="874" y="173"/>
                </a:lnTo>
                <a:lnTo>
                  <a:pt x="876" y="168"/>
                </a:lnTo>
                <a:lnTo>
                  <a:pt x="878" y="164"/>
                </a:lnTo>
                <a:lnTo>
                  <a:pt x="880" y="159"/>
                </a:lnTo>
                <a:lnTo>
                  <a:pt x="882" y="154"/>
                </a:lnTo>
                <a:lnTo>
                  <a:pt x="884" y="149"/>
                </a:lnTo>
                <a:lnTo>
                  <a:pt x="885" y="144"/>
                </a:lnTo>
                <a:lnTo>
                  <a:pt x="886" y="138"/>
                </a:lnTo>
                <a:lnTo>
                  <a:pt x="887" y="132"/>
                </a:lnTo>
                <a:lnTo>
                  <a:pt x="888" y="125"/>
                </a:lnTo>
                <a:lnTo>
                  <a:pt x="888" y="119"/>
                </a:lnTo>
                <a:lnTo>
                  <a:pt x="888" y="111"/>
                </a:lnTo>
                <a:lnTo>
                  <a:pt x="888" y="106"/>
                </a:lnTo>
                <a:lnTo>
                  <a:pt x="888" y="100"/>
                </a:lnTo>
                <a:lnTo>
                  <a:pt x="887" y="95"/>
                </a:lnTo>
                <a:lnTo>
                  <a:pt x="886" y="89"/>
                </a:lnTo>
                <a:lnTo>
                  <a:pt x="884" y="84"/>
                </a:lnTo>
                <a:lnTo>
                  <a:pt x="882" y="78"/>
                </a:lnTo>
                <a:lnTo>
                  <a:pt x="880" y="73"/>
                </a:lnTo>
                <a:lnTo>
                  <a:pt x="878" y="68"/>
                </a:lnTo>
                <a:lnTo>
                  <a:pt x="875" y="63"/>
                </a:lnTo>
                <a:lnTo>
                  <a:pt x="872" y="58"/>
                </a:lnTo>
                <a:lnTo>
                  <a:pt x="869" y="54"/>
                </a:lnTo>
                <a:lnTo>
                  <a:pt x="866" y="49"/>
                </a:lnTo>
                <a:lnTo>
                  <a:pt x="862" y="45"/>
                </a:lnTo>
                <a:lnTo>
                  <a:pt x="858" y="40"/>
                </a:lnTo>
                <a:lnTo>
                  <a:pt x="854" y="36"/>
                </a:lnTo>
                <a:lnTo>
                  <a:pt x="849" y="32"/>
                </a:lnTo>
                <a:lnTo>
                  <a:pt x="845" y="29"/>
                </a:lnTo>
                <a:lnTo>
                  <a:pt x="840" y="25"/>
                </a:lnTo>
                <a:lnTo>
                  <a:pt x="835" y="22"/>
                </a:lnTo>
                <a:lnTo>
                  <a:pt x="830" y="19"/>
                </a:lnTo>
                <a:lnTo>
                  <a:pt x="824" y="16"/>
                </a:lnTo>
                <a:lnTo>
                  <a:pt x="819" y="13"/>
                </a:lnTo>
                <a:lnTo>
                  <a:pt x="813" y="11"/>
                </a:lnTo>
                <a:lnTo>
                  <a:pt x="807" y="9"/>
                </a:lnTo>
                <a:lnTo>
                  <a:pt x="801" y="7"/>
                </a:lnTo>
                <a:lnTo>
                  <a:pt x="795" y="5"/>
                </a:lnTo>
                <a:lnTo>
                  <a:pt x="788" y="3"/>
                </a:lnTo>
                <a:lnTo>
                  <a:pt x="782" y="2"/>
                </a:lnTo>
                <a:lnTo>
                  <a:pt x="775" y="1"/>
                </a:lnTo>
                <a:lnTo>
                  <a:pt x="769" y="0"/>
                </a:lnTo>
                <a:lnTo>
                  <a:pt x="762" y="0"/>
                </a:lnTo>
                <a:lnTo>
                  <a:pt x="755" y="0"/>
                </a:lnTo>
                <a:lnTo>
                  <a:pt x="747" y="0"/>
                </a:lnTo>
                <a:lnTo>
                  <a:pt x="740" y="1"/>
                </a:lnTo>
                <a:lnTo>
                  <a:pt x="732" y="2"/>
                </a:lnTo>
                <a:lnTo>
                  <a:pt x="725" y="3"/>
                </a:lnTo>
                <a:lnTo>
                  <a:pt x="718" y="5"/>
                </a:lnTo>
                <a:lnTo>
                  <a:pt x="711" y="7"/>
                </a:lnTo>
                <a:lnTo>
                  <a:pt x="704" y="10"/>
                </a:lnTo>
                <a:lnTo>
                  <a:pt x="697" y="13"/>
                </a:lnTo>
                <a:lnTo>
                  <a:pt x="690" y="16"/>
                </a:lnTo>
                <a:lnTo>
                  <a:pt x="683" y="20"/>
                </a:lnTo>
                <a:lnTo>
                  <a:pt x="677" y="24"/>
                </a:lnTo>
                <a:lnTo>
                  <a:pt x="671" y="28"/>
                </a:lnTo>
                <a:lnTo>
                  <a:pt x="666" y="32"/>
                </a:lnTo>
                <a:lnTo>
                  <a:pt x="660" y="37"/>
                </a:lnTo>
                <a:lnTo>
                  <a:pt x="654" y="42"/>
                </a:lnTo>
                <a:lnTo>
                  <a:pt x="650" y="47"/>
                </a:lnTo>
                <a:lnTo>
                  <a:pt x="645" y="53"/>
                </a:lnTo>
                <a:lnTo>
                  <a:pt x="641" y="58"/>
                </a:lnTo>
                <a:lnTo>
                  <a:pt x="636" y="64"/>
                </a:lnTo>
                <a:lnTo>
                  <a:pt x="633" y="71"/>
                </a:lnTo>
                <a:lnTo>
                  <a:pt x="630" y="77"/>
                </a:lnTo>
                <a:lnTo>
                  <a:pt x="627" y="83"/>
                </a:lnTo>
                <a:lnTo>
                  <a:pt x="624" y="90"/>
                </a:lnTo>
                <a:lnTo>
                  <a:pt x="622" y="96"/>
                </a:lnTo>
                <a:lnTo>
                  <a:pt x="620" y="103"/>
                </a:lnTo>
                <a:lnTo>
                  <a:pt x="620" y="110"/>
                </a:lnTo>
                <a:lnTo>
                  <a:pt x="619" y="117"/>
                </a:lnTo>
                <a:lnTo>
                  <a:pt x="619" y="124"/>
                </a:lnTo>
                <a:lnTo>
                  <a:pt x="619" y="131"/>
                </a:lnTo>
                <a:lnTo>
                  <a:pt x="620" y="138"/>
                </a:lnTo>
                <a:lnTo>
                  <a:pt x="621" y="146"/>
                </a:lnTo>
                <a:lnTo>
                  <a:pt x="623" y="153"/>
                </a:lnTo>
                <a:lnTo>
                  <a:pt x="625" y="158"/>
                </a:lnTo>
                <a:lnTo>
                  <a:pt x="627" y="163"/>
                </a:lnTo>
                <a:lnTo>
                  <a:pt x="630" y="167"/>
                </a:lnTo>
                <a:lnTo>
                  <a:pt x="632" y="172"/>
                </a:lnTo>
                <a:lnTo>
                  <a:pt x="635" y="177"/>
                </a:lnTo>
                <a:lnTo>
                  <a:pt x="637" y="181"/>
                </a:lnTo>
                <a:lnTo>
                  <a:pt x="640" y="186"/>
                </a:lnTo>
                <a:lnTo>
                  <a:pt x="643" y="190"/>
                </a:lnTo>
                <a:lnTo>
                  <a:pt x="647" y="194"/>
                </a:lnTo>
                <a:lnTo>
                  <a:pt x="650" y="198"/>
                </a:lnTo>
                <a:lnTo>
                  <a:pt x="654" y="202"/>
                </a:lnTo>
                <a:lnTo>
                  <a:pt x="658" y="205"/>
                </a:lnTo>
                <a:lnTo>
                  <a:pt x="662" y="209"/>
                </a:lnTo>
                <a:lnTo>
                  <a:pt x="666" y="212"/>
                </a:lnTo>
                <a:lnTo>
                  <a:pt x="670" y="216"/>
                </a:lnTo>
                <a:lnTo>
                  <a:pt x="674" y="219"/>
                </a:lnTo>
                <a:lnTo>
                  <a:pt x="676" y="221"/>
                </a:lnTo>
                <a:lnTo>
                  <a:pt x="678" y="224"/>
                </a:lnTo>
                <a:lnTo>
                  <a:pt x="680" y="226"/>
                </a:lnTo>
                <a:lnTo>
                  <a:pt x="682" y="228"/>
                </a:lnTo>
                <a:lnTo>
                  <a:pt x="683" y="231"/>
                </a:lnTo>
                <a:lnTo>
                  <a:pt x="685" y="233"/>
                </a:lnTo>
                <a:lnTo>
                  <a:pt x="687" y="236"/>
                </a:lnTo>
                <a:lnTo>
                  <a:pt x="688" y="238"/>
                </a:lnTo>
                <a:lnTo>
                  <a:pt x="689" y="241"/>
                </a:lnTo>
                <a:lnTo>
                  <a:pt x="690" y="246"/>
                </a:lnTo>
                <a:lnTo>
                  <a:pt x="691" y="251"/>
                </a:lnTo>
                <a:lnTo>
                  <a:pt x="692" y="257"/>
                </a:lnTo>
                <a:lnTo>
                  <a:pt x="692" y="263"/>
                </a:lnTo>
                <a:lnTo>
                  <a:pt x="692" y="270"/>
                </a:lnTo>
                <a:lnTo>
                  <a:pt x="692" y="276"/>
                </a:lnTo>
                <a:lnTo>
                  <a:pt x="691" y="281"/>
                </a:lnTo>
                <a:lnTo>
                  <a:pt x="289" y="281"/>
                </a:lnTo>
                <a:lnTo>
                  <a:pt x="287" y="282"/>
                </a:lnTo>
                <a:lnTo>
                  <a:pt x="286" y="282"/>
                </a:lnTo>
                <a:lnTo>
                  <a:pt x="285" y="283"/>
                </a:lnTo>
                <a:lnTo>
                  <a:pt x="284" y="283"/>
                </a:lnTo>
                <a:lnTo>
                  <a:pt x="283" y="285"/>
                </a:lnTo>
                <a:lnTo>
                  <a:pt x="282" y="286"/>
                </a:lnTo>
                <a:lnTo>
                  <a:pt x="282" y="287"/>
                </a:lnTo>
                <a:lnTo>
                  <a:pt x="282" y="288"/>
                </a:lnTo>
                <a:lnTo>
                  <a:pt x="282" y="1028"/>
                </a:lnTo>
                <a:lnTo>
                  <a:pt x="280" y="1029"/>
                </a:lnTo>
                <a:lnTo>
                  <a:pt x="279" y="1030"/>
                </a:lnTo>
                <a:lnTo>
                  <a:pt x="278" y="1031"/>
                </a:lnTo>
                <a:lnTo>
                  <a:pt x="277" y="1031"/>
                </a:lnTo>
                <a:lnTo>
                  <a:pt x="276" y="1032"/>
                </a:lnTo>
                <a:lnTo>
                  <a:pt x="275" y="1033"/>
                </a:lnTo>
                <a:lnTo>
                  <a:pt x="274" y="1034"/>
                </a:lnTo>
                <a:lnTo>
                  <a:pt x="272" y="1034"/>
                </a:lnTo>
                <a:lnTo>
                  <a:pt x="269" y="1034"/>
                </a:lnTo>
                <a:lnTo>
                  <a:pt x="266" y="1034"/>
                </a:lnTo>
                <a:lnTo>
                  <a:pt x="264" y="1034"/>
                </a:lnTo>
                <a:lnTo>
                  <a:pt x="261" y="1033"/>
                </a:lnTo>
                <a:lnTo>
                  <a:pt x="259" y="1033"/>
                </a:lnTo>
                <a:lnTo>
                  <a:pt x="256" y="1032"/>
                </a:lnTo>
                <a:lnTo>
                  <a:pt x="254" y="1031"/>
                </a:lnTo>
                <a:lnTo>
                  <a:pt x="252" y="1030"/>
                </a:lnTo>
                <a:lnTo>
                  <a:pt x="247" y="1027"/>
                </a:lnTo>
                <a:lnTo>
                  <a:pt x="243" y="1024"/>
                </a:lnTo>
                <a:lnTo>
                  <a:pt x="239" y="1021"/>
                </a:lnTo>
                <a:lnTo>
                  <a:pt x="235" y="1018"/>
                </a:lnTo>
                <a:lnTo>
                  <a:pt x="228" y="1012"/>
                </a:lnTo>
                <a:lnTo>
                  <a:pt x="222" y="1006"/>
                </a:lnTo>
                <a:lnTo>
                  <a:pt x="215" y="999"/>
                </a:lnTo>
                <a:lnTo>
                  <a:pt x="208" y="993"/>
                </a:lnTo>
                <a:lnTo>
                  <a:pt x="201" y="987"/>
                </a:lnTo>
                <a:lnTo>
                  <a:pt x="194" y="981"/>
                </a:lnTo>
                <a:lnTo>
                  <a:pt x="191" y="978"/>
                </a:lnTo>
                <a:lnTo>
                  <a:pt x="187" y="975"/>
                </a:lnTo>
                <a:lnTo>
                  <a:pt x="183" y="972"/>
                </a:lnTo>
                <a:lnTo>
                  <a:pt x="179" y="970"/>
                </a:lnTo>
                <a:lnTo>
                  <a:pt x="175" y="968"/>
                </a:lnTo>
                <a:lnTo>
                  <a:pt x="170" y="966"/>
                </a:lnTo>
                <a:lnTo>
                  <a:pt x="166" y="964"/>
                </a:lnTo>
                <a:lnTo>
                  <a:pt x="161" y="961"/>
                </a:lnTo>
                <a:lnTo>
                  <a:pt x="156" y="960"/>
                </a:lnTo>
                <a:lnTo>
                  <a:pt x="151" y="958"/>
                </a:lnTo>
                <a:lnTo>
                  <a:pt x="146" y="957"/>
                </a:lnTo>
                <a:lnTo>
                  <a:pt x="140" y="955"/>
                </a:lnTo>
                <a:lnTo>
                  <a:pt x="134" y="954"/>
                </a:lnTo>
                <a:lnTo>
                  <a:pt x="127" y="954"/>
                </a:lnTo>
                <a:lnTo>
                  <a:pt x="120" y="953"/>
                </a:lnTo>
                <a:lnTo>
                  <a:pt x="113" y="953"/>
                </a:lnTo>
                <a:lnTo>
                  <a:pt x="108" y="953"/>
                </a:lnTo>
                <a:lnTo>
                  <a:pt x="102" y="954"/>
                </a:lnTo>
                <a:lnTo>
                  <a:pt x="96" y="955"/>
                </a:lnTo>
                <a:lnTo>
                  <a:pt x="90" y="956"/>
                </a:lnTo>
                <a:lnTo>
                  <a:pt x="85" y="958"/>
                </a:lnTo>
                <a:lnTo>
                  <a:pt x="79" y="959"/>
                </a:lnTo>
                <a:lnTo>
                  <a:pt x="74" y="962"/>
                </a:lnTo>
                <a:lnTo>
                  <a:pt x="69" y="964"/>
                </a:lnTo>
                <a:lnTo>
                  <a:pt x="64" y="967"/>
                </a:lnTo>
                <a:lnTo>
                  <a:pt x="59" y="970"/>
                </a:lnTo>
                <a:lnTo>
                  <a:pt x="55" y="973"/>
                </a:lnTo>
                <a:lnTo>
                  <a:pt x="50" y="977"/>
                </a:lnTo>
                <a:lnTo>
                  <a:pt x="45" y="981"/>
                </a:lnTo>
                <a:lnTo>
                  <a:pt x="41" y="985"/>
                </a:lnTo>
                <a:lnTo>
                  <a:pt x="37" y="989"/>
                </a:lnTo>
                <a:lnTo>
                  <a:pt x="33" y="993"/>
                </a:lnTo>
                <a:lnTo>
                  <a:pt x="30" y="998"/>
                </a:lnTo>
                <a:lnTo>
                  <a:pt x="26" y="1003"/>
                </a:lnTo>
                <a:lnTo>
                  <a:pt x="23" y="1008"/>
                </a:lnTo>
                <a:lnTo>
                  <a:pt x="19" y="1013"/>
                </a:lnTo>
                <a:lnTo>
                  <a:pt x="17" y="1019"/>
                </a:lnTo>
                <a:lnTo>
                  <a:pt x="14" y="1025"/>
                </a:lnTo>
                <a:lnTo>
                  <a:pt x="11" y="1030"/>
                </a:lnTo>
                <a:lnTo>
                  <a:pt x="9" y="1036"/>
                </a:lnTo>
                <a:lnTo>
                  <a:pt x="7" y="1042"/>
                </a:lnTo>
                <a:lnTo>
                  <a:pt x="5" y="1048"/>
                </a:lnTo>
                <a:lnTo>
                  <a:pt x="4" y="1055"/>
                </a:lnTo>
                <a:lnTo>
                  <a:pt x="2" y="1061"/>
                </a:lnTo>
                <a:lnTo>
                  <a:pt x="1" y="1068"/>
                </a:lnTo>
                <a:lnTo>
                  <a:pt x="1" y="1075"/>
                </a:lnTo>
                <a:lnTo>
                  <a:pt x="0" y="1081"/>
                </a:lnTo>
                <a:lnTo>
                  <a:pt x="0" y="1088"/>
                </a:lnTo>
                <a:lnTo>
                  <a:pt x="0" y="1096"/>
                </a:lnTo>
                <a:lnTo>
                  <a:pt x="1" y="1103"/>
                </a:lnTo>
                <a:lnTo>
                  <a:pt x="2" y="1110"/>
                </a:lnTo>
                <a:lnTo>
                  <a:pt x="4" y="1118"/>
                </a:lnTo>
                <a:lnTo>
                  <a:pt x="5" y="1125"/>
                </a:lnTo>
                <a:lnTo>
                  <a:pt x="8" y="1132"/>
                </a:lnTo>
                <a:lnTo>
                  <a:pt x="10" y="1139"/>
                </a:lnTo>
                <a:lnTo>
                  <a:pt x="13" y="1146"/>
                </a:lnTo>
                <a:lnTo>
                  <a:pt x="17" y="1153"/>
                </a:lnTo>
                <a:lnTo>
                  <a:pt x="20" y="1159"/>
                </a:lnTo>
                <a:lnTo>
                  <a:pt x="24" y="1166"/>
                </a:lnTo>
                <a:lnTo>
                  <a:pt x="29" y="1171"/>
                </a:lnTo>
                <a:lnTo>
                  <a:pt x="33" y="1177"/>
                </a:lnTo>
                <a:lnTo>
                  <a:pt x="38" y="1183"/>
                </a:lnTo>
                <a:lnTo>
                  <a:pt x="43" y="1188"/>
                </a:lnTo>
                <a:lnTo>
                  <a:pt x="49" y="1193"/>
                </a:lnTo>
                <a:lnTo>
                  <a:pt x="54" y="1198"/>
                </a:lnTo>
                <a:lnTo>
                  <a:pt x="60" y="1202"/>
                </a:lnTo>
                <a:lnTo>
                  <a:pt x="66" y="1206"/>
                </a:lnTo>
                <a:lnTo>
                  <a:pt x="72" y="1209"/>
                </a:lnTo>
                <a:lnTo>
                  <a:pt x="78" y="1213"/>
                </a:lnTo>
                <a:lnTo>
                  <a:pt x="85" y="1215"/>
                </a:lnTo>
                <a:lnTo>
                  <a:pt x="92" y="1218"/>
                </a:lnTo>
                <a:lnTo>
                  <a:pt x="98" y="1220"/>
                </a:lnTo>
                <a:lnTo>
                  <a:pt x="105" y="1221"/>
                </a:lnTo>
                <a:lnTo>
                  <a:pt x="112" y="1222"/>
                </a:lnTo>
                <a:lnTo>
                  <a:pt x="119" y="1222"/>
                </a:lnTo>
                <a:lnTo>
                  <a:pt x="126" y="1222"/>
                </a:lnTo>
                <a:lnTo>
                  <a:pt x="133" y="1222"/>
                </a:lnTo>
                <a:lnTo>
                  <a:pt x="141" y="1221"/>
                </a:lnTo>
                <a:lnTo>
                  <a:pt x="148" y="1219"/>
                </a:lnTo>
                <a:lnTo>
                  <a:pt x="155" y="1216"/>
                </a:lnTo>
                <a:lnTo>
                  <a:pt x="160" y="1214"/>
                </a:lnTo>
                <a:lnTo>
                  <a:pt x="165" y="1212"/>
                </a:lnTo>
                <a:lnTo>
                  <a:pt x="170" y="1210"/>
                </a:lnTo>
                <a:lnTo>
                  <a:pt x="174" y="1208"/>
                </a:lnTo>
                <a:lnTo>
                  <a:pt x="179" y="1205"/>
                </a:lnTo>
                <a:lnTo>
                  <a:pt x="184" y="1202"/>
                </a:lnTo>
                <a:lnTo>
                  <a:pt x="188" y="1199"/>
                </a:lnTo>
                <a:lnTo>
                  <a:pt x="192" y="1196"/>
                </a:lnTo>
                <a:lnTo>
                  <a:pt x="196" y="1193"/>
                </a:lnTo>
                <a:lnTo>
                  <a:pt x="200" y="1189"/>
                </a:lnTo>
                <a:lnTo>
                  <a:pt x="204" y="1186"/>
                </a:lnTo>
                <a:lnTo>
                  <a:pt x="207" y="1182"/>
                </a:lnTo>
                <a:lnTo>
                  <a:pt x="211" y="1178"/>
                </a:lnTo>
                <a:lnTo>
                  <a:pt x="215" y="1174"/>
                </a:lnTo>
                <a:lnTo>
                  <a:pt x="218" y="1170"/>
                </a:lnTo>
                <a:lnTo>
                  <a:pt x="222" y="1166"/>
                </a:lnTo>
                <a:lnTo>
                  <a:pt x="224" y="1164"/>
                </a:lnTo>
                <a:lnTo>
                  <a:pt x="226" y="1162"/>
                </a:lnTo>
                <a:lnTo>
                  <a:pt x="229" y="1160"/>
                </a:lnTo>
                <a:lnTo>
                  <a:pt x="231" y="1159"/>
                </a:lnTo>
                <a:lnTo>
                  <a:pt x="233" y="1157"/>
                </a:lnTo>
                <a:lnTo>
                  <a:pt x="236" y="1155"/>
                </a:lnTo>
                <a:lnTo>
                  <a:pt x="238" y="1153"/>
                </a:lnTo>
                <a:lnTo>
                  <a:pt x="241" y="1152"/>
                </a:lnTo>
                <a:lnTo>
                  <a:pt x="244" y="1151"/>
                </a:lnTo>
                <a:lnTo>
                  <a:pt x="248" y="1150"/>
                </a:lnTo>
                <a:lnTo>
                  <a:pt x="254" y="1148"/>
                </a:lnTo>
                <a:lnTo>
                  <a:pt x="259" y="1147"/>
                </a:lnTo>
                <a:lnTo>
                  <a:pt x="265" y="1146"/>
                </a:lnTo>
                <a:lnTo>
                  <a:pt x="271" y="1146"/>
                </a:lnTo>
                <a:lnTo>
                  <a:pt x="274" y="1146"/>
                </a:lnTo>
                <a:lnTo>
                  <a:pt x="277" y="1146"/>
                </a:lnTo>
                <a:lnTo>
                  <a:pt x="279" y="1147"/>
                </a:lnTo>
                <a:lnTo>
                  <a:pt x="282" y="1147"/>
                </a:lnTo>
                <a:lnTo>
                  <a:pt x="282" y="1863"/>
                </a:lnTo>
                <a:lnTo>
                  <a:pt x="282" y="1864"/>
                </a:lnTo>
                <a:lnTo>
                  <a:pt x="282" y="1866"/>
                </a:lnTo>
                <a:lnTo>
                  <a:pt x="283" y="1867"/>
                </a:lnTo>
                <a:lnTo>
                  <a:pt x="284" y="1868"/>
                </a:lnTo>
                <a:lnTo>
                  <a:pt x="285" y="1869"/>
                </a:lnTo>
                <a:lnTo>
                  <a:pt x="286" y="1869"/>
                </a:lnTo>
                <a:lnTo>
                  <a:pt x="287" y="1870"/>
                </a:lnTo>
                <a:lnTo>
                  <a:pt x="289" y="1870"/>
                </a:lnTo>
                <a:lnTo>
                  <a:pt x="293" y="1870"/>
                </a:lnTo>
                <a:lnTo>
                  <a:pt x="294" y="1870"/>
                </a:lnTo>
                <a:lnTo>
                  <a:pt x="295" y="1870"/>
                </a:lnTo>
                <a:lnTo>
                  <a:pt x="1252" y="1870"/>
                </a:lnTo>
                <a:lnTo>
                  <a:pt x="1254" y="1870"/>
                </a:lnTo>
                <a:lnTo>
                  <a:pt x="1255" y="1870"/>
                </a:lnTo>
                <a:lnTo>
                  <a:pt x="1256" y="1869"/>
                </a:lnTo>
                <a:lnTo>
                  <a:pt x="1257" y="1868"/>
                </a:lnTo>
                <a:lnTo>
                  <a:pt x="1258" y="1867"/>
                </a:lnTo>
                <a:lnTo>
                  <a:pt x="1259" y="1866"/>
                </a:lnTo>
                <a:lnTo>
                  <a:pt x="1259" y="1864"/>
                </a:lnTo>
                <a:lnTo>
                  <a:pt x="1259" y="1863"/>
                </a:lnTo>
                <a:lnTo>
                  <a:pt x="1259" y="1133"/>
                </a:lnTo>
                <a:lnTo>
                  <a:pt x="1262" y="1132"/>
                </a:lnTo>
                <a:lnTo>
                  <a:pt x="1265" y="1132"/>
                </a:lnTo>
                <a:lnTo>
                  <a:pt x="1268" y="1132"/>
                </a:lnTo>
                <a:lnTo>
                  <a:pt x="1272" y="1132"/>
                </a:lnTo>
                <a:lnTo>
                  <a:pt x="1280" y="1132"/>
                </a:lnTo>
                <a:lnTo>
                  <a:pt x="1288" y="1133"/>
                </a:lnTo>
                <a:lnTo>
                  <a:pt x="1295" y="1134"/>
                </a:lnTo>
                <a:lnTo>
                  <a:pt x="1303" y="1135"/>
                </a:lnTo>
                <a:lnTo>
                  <a:pt x="1308" y="1136"/>
                </a:lnTo>
                <a:lnTo>
                  <a:pt x="1312" y="1138"/>
                </a:lnTo>
                <a:lnTo>
                  <a:pt x="1314" y="1139"/>
                </a:lnTo>
                <a:lnTo>
                  <a:pt x="1317" y="1141"/>
                </a:lnTo>
                <a:lnTo>
                  <a:pt x="1320" y="1143"/>
                </a:lnTo>
                <a:lnTo>
                  <a:pt x="1322" y="1146"/>
                </a:lnTo>
                <a:lnTo>
                  <a:pt x="1324" y="1148"/>
                </a:lnTo>
                <a:lnTo>
                  <a:pt x="1326" y="1150"/>
                </a:lnTo>
                <a:lnTo>
                  <a:pt x="1329" y="1153"/>
                </a:lnTo>
                <a:lnTo>
                  <a:pt x="1331" y="1155"/>
                </a:lnTo>
                <a:lnTo>
                  <a:pt x="1335" y="1158"/>
                </a:lnTo>
                <a:lnTo>
                  <a:pt x="1338" y="1162"/>
                </a:lnTo>
                <a:lnTo>
                  <a:pt x="1342" y="1166"/>
                </a:lnTo>
                <a:lnTo>
                  <a:pt x="1345" y="1169"/>
                </a:lnTo>
                <a:lnTo>
                  <a:pt x="1349" y="1172"/>
                </a:lnTo>
                <a:lnTo>
                  <a:pt x="1353" y="1176"/>
                </a:lnTo>
                <a:lnTo>
                  <a:pt x="1357" y="1179"/>
                </a:lnTo>
                <a:lnTo>
                  <a:pt x="1360" y="1182"/>
                </a:lnTo>
                <a:lnTo>
                  <a:pt x="1365" y="1185"/>
                </a:lnTo>
                <a:lnTo>
                  <a:pt x="1369" y="1188"/>
                </a:lnTo>
                <a:lnTo>
                  <a:pt x="1373" y="1191"/>
                </a:lnTo>
                <a:lnTo>
                  <a:pt x="1378" y="1194"/>
                </a:lnTo>
                <a:lnTo>
                  <a:pt x="1383" y="1196"/>
                </a:lnTo>
                <a:lnTo>
                  <a:pt x="1388" y="1198"/>
                </a:lnTo>
                <a:lnTo>
                  <a:pt x="1393" y="1200"/>
                </a:lnTo>
                <a:lnTo>
                  <a:pt x="1398" y="1202"/>
                </a:lnTo>
                <a:lnTo>
                  <a:pt x="1406" y="1204"/>
                </a:lnTo>
                <a:lnTo>
                  <a:pt x="1414" y="1205"/>
                </a:lnTo>
                <a:lnTo>
                  <a:pt x="1422" y="1206"/>
                </a:lnTo>
                <a:lnTo>
                  <a:pt x="1430" y="1206"/>
                </a:lnTo>
                <a:lnTo>
                  <a:pt x="1437" y="1206"/>
                </a:lnTo>
                <a:lnTo>
                  <a:pt x="1445" y="1206"/>
                </a:lnTo>
                <a:lnTo>
                  <a:pt x="1452" y="1205"/>
                </a:lnTo>
                <a:lnTo>
                  <a:pt x="1459" y="1203"/>
                </a:lnTo>
                <a:lnTo>
                  <a:pt x="1466" y="1201"/>
                </a:lnTo>
                <a:lnTo>
                  <a:pt x="1473" y="1199"/>
                </a:lnTo>
                <a:lnTo>
                  <a:pt x="1479" y="1196"/>
                </a:lnTo>
                <a:lnTo>
                  <a:pt x="1485" y="1192"/>
                </a:lnTo>
                <a:lnTo>
                  <a:pt x="1491" y="1189"/>
                </a:lnTo>
                <a:lnTo>
                  <a:pt x="1497" y="1185"/>
                </a:lnTo>
                <a:lnTo>
                  <a:pt x="1503" y="1180"/>
                </a:lnTo>
                <a:lnTo>
                  <a:pt x="1508" y="1176"/>
                </a:lnTo>
                <a:lnTo>
                  <a:pt x="1513" y="1171"/>
                </a:lnTo>
                <a:lnTo>
                  <a:pt x="1517" y="1166"/>
                </a:lnTo>
                <a:lnTo>
                  <a:pt x="1522" y="1160"/>
                </a:lnTo>
                <a:lnTo>
                  <a:pt x="1527" y="1154"/>
                </a:lnTo>
                <a:lnTo>
                  <a:pt x="1530" y="1148"/>
                </a:lnTo>
                <a:lnTo>
                  <a:pt x="1534" y="1142"/>
                </a:lnTo>
                <a:lnTo>
                  <a:pt x="1537" y="1136"/>
                </a:lnTo>
                <a:lnTo>
                  <a:pt x="1540" y="1129"/>
                </a:lnTo>
                <a:lnTo>
                  <a:pt x="1543" y="1122"/>
                </a:lnTo>
                <a:lnTo>
                  <a:pt x="1546" y="1115"/>
                </a:lnTo>
                <a:lnTo>
                  <a:pt x="1547" y="1108"/>
                </a:lnTo>
                <a:lnTo>
                  <a:pt x="1549" y="1101"/>
                </a:lnTo>
                <a:lnTo>
                  <a:pt x="1550" y="1094"/>
                </a:lnTo>
                <a:lnTo>
                  <a:pt x="1552" y="1086"/>
                </a:lnTo>
                <a:lnTo>
                  <a:pt x="1552" y="1079"/>
                </a:lnTo>
                <a:lnTo>
                  <a:pt x="1552" y="1071"/>
                </a:lnTo>
                <a:lnTo>
                  <a:pt x="1552" y="1064"/>
                </a:lnTo>
                <a:lnTo>
                  <a:pt x="1552" y="1058"/>
                </a:lnTo>
                <a:lnTo>
                  <a:pt x="1551" y="1051"/>
                </a:lnTo>
                <a:lnTo>
                  <a:pt x="1550" y="1044"/>
                </a:lnTo>
                <a:lnTo>
                  <a:pt x="1548" y="1038"/>
                </a:lnTo>
                <a:lnTo>
                  <a:pt x="1547" y="1032"/>
                </a:lnTo>
                <a:lnTo>
                  <a:pt x="1545" y="1025"/>
                </a:lnTo>
                <a:lnTo>
                  <a:pt x="1543" y="1020"/>
                </a:lnTo>
                <a:lnTo>
                  <a:pt x="1540" y="1014"/>
                </a:lnTo>
                <a:lnTo>
                  <a:pt x="1537" y="1007"/>
                </a:lnTo>
                <a:lnTo>
                  <a:pt x="1534" y="1002"/>
                </a:lnTo>
                <a:lnTo>
                  <a:pt x="1531" y="997"/>
                </a:lnTo>
                <a:lnTo>
                  <a:pt x="1528" y="991"/>
                </a:lnTo>
                <a:lnTo>
                  <a:pt x="1524" y="986"/>
                </a:lnTo>
                <a:lnTo>
                  <a:pt x="1520" y="981"/>
                </a:lnTo>
                <a:lnTo>
                  <a:pt x="1516" y="976"/>
                </a:lnTo>
                <a:lnTo>
                  <a:pt x="1512" y="972"/>
                </a:lnTo>
                <a:lnTo>
                  <a:pt x="1508" y="967"/>
                </a:lnTo>
                <a:lnTo>
                  <a:pt x="1503" y="964"/>
                </a:lnTo>
                <a:lnTo>
                  <a:pt x="1499" y="960"/>
                </a:lnTo>
                <a:lnTo>
                  <a:pt x="1494" y="956"/>
                </a:lnTo>
                <a:lnTo>
                  <a:pt x="1489" y="953"/>
                </a:lnTo>
                <a:lnTo>
                  <a:pt x="1484" y="950"/>
                </a:lnTo>
                <a:lnTo>
                  <a:pt x="1479" y="947"/>
                </a:lnTo>
                <a:lnTo>
                  <a:pt x="1474" y="944"/>
                </a:lnTo>
                <a:lnTo>
                  <a:pt x="1468" y="942"/>
                </a:lnTo>
                <a:lnTo>
                  <a:pt x="1463" y="940"/>
                </a:lnTo>
                <a:lnTo>
                  <a:pt x="1457" y="939"/>
                </a:lnTo>
                <a:lnTo>
                  <a:pt x="1451" y="938"/>
                </a:lnTo>
                <a:lnTo>
                  <a:pt x="1445" y="937"/>
                </a:lnTo>
                <a:lnTo>
                  <a:pt x="1440" y="936"/>
                </a:lnTo>
                <a:lnTo>
                  <a:pt x="1434" y="936"/>
                </a:lnTo>
                <a:lnTo>
                  <a:pt x="1427" y="936"/>
                </a:lnTo>
                <a:lnTo>
                  <a:pt x="1420" y="936"/>
                </a:lnTo>
                <a:lnTo>
                  <a:pt x="1414" y="937"/>
                </a:lnTo>
                <a:lnTo>
                  <a:pt x="1408" y="938"/>
                </a:lnTo>
                <a:lnTo>
                  <a:pt x="1403" y="938"/>
                </a:lnTo>
                <a:lnTo>
                  <a:pt x="1398" y="939"/>
                </a:lnTo>
                <a:lnTo>
                  <a:pt x="1393" y="940"/>
                </a:lnTo>
                <a:lnTo>
                  <a:pt x="1389" y="941"/>
                </a:lnTo>
                <a:lnTo>
                  <a:pt x="1385" y="943"/>
                </a:lnTo>
                <a:lnTo>
                  <a:pt x="1381" y="944"/>
                </a:lnTo>
                <a:lnTo>
                  <a:pt x="1378" y="946"/>
                </a:lnTo>
                <a:lnTo>
                  <a:pt x="1374" y="947"/>
                </a:lnTo>
                <a:lnTo>
                  <a:pt x="1371" y="949"/>
                </a:lnTo>
                <a:lnTo>
                  <a:pt x="1368" y="951"/>
                </a:lnTo>
                <a:lnTo>
                  <a:pt x="1366" y="953"/>
                </a:lnTo>
                <a:lnTo>
                  <a:pt x="1363" y="955"/>
                </a:lnTo>
                <a:lnTo>
                  <a:pt x="1358" y="960"/>
                </a:lnTo>
                <a:lnTo>
                  <a:pt x="1352" y="965"/>
                </a:lnTo>
                <a:lnTo>
                  <a:pt x="1347" y="970"/>
                </a:lnTo>
                <a:lnTo>
                  <a:pt x="1341" y="976"/>
                </a:lnTo>
                <a:lnTo>
                  <a:pt x="1335" y="983"/>
                </a:lnTo>
                <a:lnTo>
                  <a:pt x="1328" y="989"/>
                </a:lnTo>
                <a:lnTo>
                  <a:pt x="1320" y="997"/>
                </a:lnTo>
                <a:lnTo>
                  <a:pt x="1310" y="1004"/>
                </a:lnTo>
                <a:lnTo>
                  <a:pt x="1309" y="1005"/>
                </a:lnTo>
                <a:lnTo>
                  <a:pt x="1307" y="1006"/>
                </a:lnTo>
                <a:lnTo>
                  <a:pt x="1305" y="1006"/>
                </a:lnTo>
                <a:lnTo>
                  <a:pt x="1303" y="1007"/>
                </a:lnTo>
                <a:lnTo>
                  <a:pt x="1298" y="1007"/>
                </a:lnTo>
                <a:lnTo>
                  <a:pt x="1293" y="1007"/>
                </a:lnTo>
                <a:lnTo>
                  <a:pt x="1288" y="1008"/>
                </a:lnTo>
                <a:lnTo>
                  <a:pt x="1283" y="1008"/>
                </a:lnTo>
                <a:lnTo>
                  <a:pt x="1278" y="1007"/>
                </a:lnTo>
                <a:lnTo>
                  <a:pt x="1275" y="1007"/>
                </a:lnTo>
                <a:lnTo>
                  <a:pt x="1273" y="1007"/>
                </a:lnTo>
                <a:lnTo>
                  <a:pt x="1271" y="1007"/>
                </a:lnTo>
                <a:lnTo>
                  <a:pt x="1269" y="1007"/>
                </a:lnTo>
                <a:lnTo>
                  <a:pt x="1267" y="1007"/>
                </a:lnTo>
                <a:lnTo>
                  <a:pt x="1265" y="1007"/>
                </a:lnTo>
                <a:lnTo>
                  <a:pt x="1263" y="1007"/>
                </a:lnTo>
                <a:lnTo>
                  <a:pt x="1261" y="1006"/>
                </a:lnTo>
                <a:lnTo>
                  <a:pt x="1259" y="1005"/>
                </a:lnTo>
                <a:lnTo>
                  <a:pt x="1259" y="289"/>
                </a:lnTo>
                <a:lnTo>
                  <a:pt x="1259" y="287"/>
                </a:lnTo>
                <a:lnTo>
                  <a:pt x="1259" y="286"/>
                </a:lnTo>
                <a:lnTo>
                  <a:pt x="1258" y="285"/>
                </a:lnTo>
                <a:lnTo>
                  <a:pt x="1257" y="284"/>
                </a:lnTo>
                <a:lnTo>
                  <a:pt x="1256" y="283"/>
                </a:lnTo>
                <a:lnTo>
                  <a:pt x="1255" y="282"/>
                </a:lnTo>
                <a:lnTo>
                  <a:pt x="1254" y="282"/>
                </a:lnTo>
                <a:lnTo>
                  <a:pt x="1252" y="282"/>
                </a:lnTo>
                <a:close/>
              </a:path>
            </a:pathLst>
          </a:custGeom>
          <a:solidFill>
            <a:srgbClr val="E0301E"/>
          </a:solidFill>
          <a:ln w="19050" cmpd="sng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8382EC8-C587-4C62-A46D-320E48171348}"/>
              </a:ext>
            </a:extLst>
          </p:cNvPr>
          <p:cNvSpPr/>
          <p:nvPr/>
        </p:nvSpPr>
        <p:spPr>
          <a:xfrm>
            <a:off x="4172152" y="3263764"/>
            <a:ext cx="548640" cy="670178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8949764-E6ED-4FCC-AB21-F671489534B9}"/>
              </a:ext>
            </a:extLst>
          </p:cNvPr>
          <p:cNvSpPr/>
          <p:nvPr/>
        </p:nvSpPr>
        <p:spPr>
          <a:xfrm>
            <a:off x="4172151" y="3263762"/>
            <a:ext cx="548640" cy="203997"/>
          </a:xfrm>
          <a:prstGeom prst="rect">
            <a:avLst/>
          </a:prstGeom>
          <a:solidFill>
            <a:srgbClr val="FFFFFF">
              <a:lumMod val="50000"/>
            </a:srgbClr>
          </a:solidFill>
          <a:ln w="6350">
            <a:solidFill>
              <a:srgbClr val="000000"/>
            </a:soli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r>
              <a:rPr lang="en-GB" sz="675" kern="1200">
                <a:solidFill>
                  <a:srgbClr val="FFFFFF"/>
                </a:solidFill>
                <a:latin typeface="Georgia"/>
                <a:ea typeface="+mn-ea"/>
                <a:cs typeface="+mn-cs"/>
              </a:rPr>
              <a:t>Block N</a:t>
            </a:r>
          </a:p>
        </p:txBody>
      </p:sp>
      <p:sp>
        <p:nvSpPr>
          <p:cNvPr id="88" name="Rounded Rectangle 274">
            <a:extLst>
              <a:ext uri="{FF2B5EF4-FFF2-40B4-BE49-F238E27FC236}">
                <a16:creationId xmlns:a16="http://schemas.microsoft.com/office/drawing/2014/main" id="{1122AAE3-FB01-4037-85C9-74D66E5D601F}"/>
              </a:ext>
            </a:extLst>
          </p:cNvPr>
          <p:cNvSpPr/>
          <p:nvPr/>
        </p:nvSpPr>
        <p:spPr>
          <a:xfrm>
            <a:off x="4297141" y="3816860"/>
            <a:ext cx="312036" cy="34289"/>
          </a:xfrm>
          <a:prstGeom prst="roundRect">
            <a:avLst/>
          </a:prstGeom>
          <a:solidFill>
            <a:srgbClr val="FFFFFF">
              <a:lumMod val="50000"/>
            </a:srgbClr>
          </a:solidFill>
          <a:ln w="6350">
            <a:solidFill>
              <a:srgbClr val="000000"/>
            </a:soli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89" name="Rounded Rectangle 275">
            <a:extLst>
              <a:ext uri="{FF2B5EF4-FFF2-40B4-BE49-F238E27FC236}">
                <a16:creationId xmlns:a16="http://schemas.microsoft.com/office/drawing/2014/main" id="{9A2BA666-E0D1-4F02-B1A7-25D6C9775442}"/>
              </a:ext>
            </a:extLst>
          </p:cNvPr>
          <p:cNvSpPr/>
          <p:nvPr/>
        </p:nvSpPr>
        <p:spPr>
          <a:xfrm>
            <a:off x="4290404" y="3531110"/>
            <a:ext cx="312036" cy="34289"/>
          </a:xfrm>
          <a:prstGeom prst="roundRect">
            <a:avLst/>
          </a:prstGeom>
          <a:solidFill>
            <a:srgbClr val="FFFFFF">
              <a:lumMod val="50000"/>
            </a:srgbClr>
          </a:solidFill>
          <a:ln w="6350">
            <a:solidFill>
              <a:srgbClr val="000000"/>
            </a:soli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90" name="Rounded Rectangle 276">
            <a:extLst>
              <a:ext uri="{FF2B5EF4-FFF2-40B4-BE49-F238E27FC236}">
                <a16:creationId xmlns:a16="http://schemas.microsoft.com/office/drawing/2014/main" id="{4E1DCAF5-63BB-4325-B9C0-687A7DDA0A45}"/>
              </a:ext>
            </a:extLst>
          </p:cNvPr>
          <p:cNvSpPr/>
          <p:nvPr/>
        </p:nvSpPr>
        <p:spPr>
          <a:xfrm>
            <a:off x="4290404" y="3679699"/>
            <a:ext cx="312036" cy="34289"/>
          </a:xfrm>
          <a:prstGeom prst="roundRect">
            <a:avLst/>
          </a:prstGeom>
          <a:solidFill>
            <a:srgbClr val="FFFFFF">
              <a:lumMod val="50000"/>
            </a:srgbClr>
          </a:solidFill>
          <a:ln w="6350">
            <a:solidFill>
              <a:srgbClr val="000000"/>
            </a:solidFill>
          </a:ln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91" name="Freeform 34">
            <a:extLst>
              <a:ext uri="{FF2B5EF4-FFF2-40B4-BE49-F238E27FC236}">
                <a16:creationId xmlns:a16="http://schemas.microsoft.com/office/drawing/2014/main" id="{A1698A2D-3EDC-4D53-9753-D976992E32E7}"/>
              </a:ext>
            </a:extLst>
          </p:cNvPr>
          <p:cNvSpPr>
            <a:spLocks/>
          </p:cNvSpPr>
          <p:nvPr/>
        </p:nvSpPr>
        <p:spPr bwMode="auto">
          <a:xfrm>
            <a:off x="3846148" y="3658077"/>
            <a:ext cx="167807" cy="262954"/>
          </a:xfrm>
          <a:custGeom>
            <a:avLst/>
            <a:gdLst>
              <a:gd name="T0" fmla="*/ 454 w 1245"/>
              <a:gd name="T1" fmla="*/ 2 h 1805"/>
              <a:gd name="T2" fmla="*/ 451 w 1245"/>
              <a:gd name="T3" fmla="*/ 212 h 1805"/>
              <a:gd name="T4" fmla="*/ 453 w 1245"/>
              <a:gd name="T5" fmla="*/ 795 h 1805"/>
              <a:gd name="T6" fmla="*/ 446 w 1245"/>
              <a:gd name="T7" fmla="*/ 902 h 1805"/>
              <a:gd name="T8" fmla="*/ 426 w 1245"/>
              <a:gd name="T9" fmla="*/ 905 h 1805"/>
              <a:gd name="T10" fmla="*/ 402 w 1245"/>
              <a:gd name="T11" fmla="*/ 901 h 1805"/>
              <a:gd name="T12" fmla="*/ 353 w 1245"/>
              <a:gd name="T13" fmla="*/ 868 h 1805"/>
              <a:gd name="T14" fmla="*/ 298 w 1245"/>
              <a:gd name="T15" fmla="*/ 828 h 1805"/>
              <a:gd name="T16" fmla="*/ 256 w 1245"/>
              <a:gd name="T17" fmla="*/ 809 h 1805"/>
              <a:gd name="T18" fmla="*/ 201 w 1245"/>
              <a:gd name="T19" fmla="*/ 798 h 1805"/>
              <a:gd name="T20" fmla="*/ 144 w 1245"/>
              <a:gd name="T21" fmla="*/ 802 h 1805"/>
              <a:gd name="T22" fmla="*/ 95 w 1245"/>
              <a:gd name="T23" fmla="*/ 820 h 1805"/>
              <a:gd name="T24" fmla="*/ 54 w 1245"/>
              <a:gd name="T25" fmla="*/ 851 h 1805"/>
              <a:gd name="T26" fmla="*/ 21 w 1245"/>
              <a:gd name="T27" fmla="*/ 891 h 1805"/>
              <a:gd name="T28" fmla="*/ 2 w 1245"/>
              <a:gd name="T29" fmla="*/ 940 h 1805"/>
              <a:gd name="T30" fmla="*/ 1 w 1245"/>
              <a:gd name="T31" fmla="*/ 996 h 1805"/>
              <a:gd name="T32" fmla="*/ 21 w 1245"/>
              <a:gd name="T33" fmla="*/ 1054 h 1805"/>
              <a:gd name="T34" fmla="*/ 58 w 1245"/>
              <a:gd name="T35" fmla="*/ 1101 h 1805"/>
              <a:gd name="T36" fmla="*/ 113 w 1245"/>
              <a:gd name="T37" fmla="*/ 1138 h 1805"/>
              <a:gd name="T38" fmla="*/ 178 w 1245"/>
              <a:gd name="T39" fmla="*/ 1155 h 1805"/>
              <a:gd name="T40" fmla="*/ 247 w 1245"/>
              <a:gd name="T41" fmla="*/ 1150 h 1805"/>
              <a:gd name="T42" fmla="*/ 292 w 1245"/>
              <a:gd name="T43" fmla="*/ 1133 h 1805"/>
              <a:gd name="T44" fmla="*/ 331 w 1245"/>
              <a:gd name="T45" fmla="*/ 1104 h 1805"/>
              <a:gd name="T46" fmla="*/ 361 w 1245"/>
              <a:gd name="T47" fmla="*/ 1077 h 1805"/>
              <a:gd name="T48" fmla="*/ 385 w 1245"/>
              <a:gd name="T49" fmla="*/ 1064 h 1805"/>
              <a:gd name="T50" fmla="*/ 434 w 1245"/>
              <a:gd name="T51" fmla="*/ 1057 h 1805"/>
              <a:gd name="T52" fmla="*/ 450 w 1245"/>
              <a:gd name="T53" fmla="*/ 1063 h 1805"/>
              <a:gd name="T54" fmla="*/ 453 w 1245"/>
              <a:gd name="T55" fmla="*/ 2040 h 1805"/>
              <a:gd name="T56" fmla="*/ 1133 w 1245"/>
              <a:gd name="T57" fmla="*/ 2043 h 1805"/>
              <a:gd name="T58" fmla="*/ 1137 w 1245"/>
              <a:gd name="T59" fmla="*/ 2054 h 1805"/>
              <a:gd name="T60" fmla="*/ 1137 w 1245"/>
              <a:gd name="T61" fmla="*/ 2074 h 1805"/>
              <a:gd name="T62" fmla="*/ 1122 w 1245"/>
              <a:gd name="T63" fmla="*/ 2097 h 1805"/>
              <a:gd name="T64" fmla="*/ 1072 w 1245"/>
              <a:gd name="T65" fmla="*/ 2143 h 1805"/>
              <a:gd name="T66" fmla="*/ 1035 w 1245"/>
              <a:gd name="T67" fmla="*/ 2182 h 1805"/>
              <a:gd name="T68" fmla="*/ 1016 w 1245"/>
              <a:gd name="T69" fmla="*/ 2219 h 1805"/>
              <a:gd name="T70" fmla="*/ 1008 w 1245"/>
              <a:gd name="T71" fmla="*/ 2269 h 1805"/>
              <a:gd name="T72" fmla="*/ 1017 w 1245"/>
              <a:gd name="T73" fmla="*/ 2314 h 1805"/>
              <a:gd name="T74" fmla="*/ 1044 w 1245"/>
              <a:gd name="T75" fmla="*/ 2353 h 1805"/>
              <a:gd name="T76" fmla="*/ 1084 w 1245"/>
              <a:gd name="T77" fmla="*/ 2385 h 1805"/>
              <a:gd name="T78" fmla="*/ 1137 w 1245"/>
              <a:gd name="T79" fmla="*/ 2407 h 1805"/>
              <a:gd name="T80" fmla="*/ 1200 w 1245"/>
              <a:gd name="T81" fmla="*/ 2418 h 1805"/>
              <a:gd name="T82" fmla="*/ 1268 w 1245"/>
              <a:gd name="T83" fmla="*/ 2416 h 1805"/>
              <a:gd name="T84" fmla="*/ 1337 w 1245"/>
              <a:gd name="T85" fmla="*/ 2392 h 1805"/>
              <a:gd name="T86" fmla="*/ 1389 w 1245"/>
              <a:gd name="T87" fmla="*/ 2356 h 1805"/>
              <a:gd name="T88" fmla="*/ 1427 w 1245"/>
              <a:gd name="T89" fmla="*/ 2308 h 1805"/>
              <a:gd name="T90" fmla="*/ 1440 w 1245"/>
              <a:gd name="T91" fmla="*/ 2252 h 1805"/>
              <a:gd name="T92" fmla="*/ 1426 w 1245"/>
              <a:gd name="T93" fmla="*/ 2201 h 1805"/>
              <a:gd name="T94" fmla="*/ 1399 w 1245"/>
              <a:gd name="T95" fmla="*/ 2165 h 1805"/>
              <a:gd name="T96" fmla="*/ 1362 w 1245"/>
              <a:gd name="T97" fmla="*/ 2134 h 1805"/>
              <a:gd name="T98" fmla="*/ 1339 w 1245"/>
              <a:gd name="T99" fmla="*/ 2113 h 1805"/>
              <a:gd name="T100" fmla="*/ 1324 w 1245"/>
              <a:gd name="T101" fmla="*/ 2090 h 1805"/>
              <a:gd name="T102" fmla="*/ 1323 w 1245"/>
              <a:gd name="T103" fmla="*/ 2043 h 1805"/>
              <a:gd name="T104" fmla="*/ 1990 w 1245"/>
              <a:gd name="T105" fmla="*/ 2040 h 1805"/>
              <a:gd name="T106" fmla="*/ 1992 w 1245"/>
              <a:gd name="T107" fmla="*/ 4 h 1805"/>
              <a:gd name="T108" fmla="*/ 1980 w 1245"/>
              <a:gd name="T109" fmla="*/ 0 h 180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245"/>
              <a:gd name="T166" fmla="*/ 0 h 1805"/>
              <a:gd name="T167" fmla="*/ 1245 w 1245"/>
              <a:gd name="T168" fmla="*/ 1805 h 180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245" h="1805">
                <a:moveTo>
                  <a:pt x="1238" y="0"/>
                </a:moveTo>
                <a:lnTo>
                  <a:pt x="289" y="0"/>
                </a:lnTo>
                <a:lnTo>
                  <a:pt x="287" y="0"/>
                </a:lnTo>
                <a:lnTo>
                  <a:pt x="286" y="0"/>
                </a:lnTo>
                <a:lnTo>
                  <a:pt x="284" y="1"/>
                </a:lnTo>
                <a:lnTo>
                  <a:pt x="284" y="2"/>
                </a:lnTo>
                <a:lnTo>
                  <a:pt x="283" y="3"/>
                </a:lnTo>
                <a:lnTo>
                  <a:pt x="282" y="4"/>
                </a:lnTo>
                <a:lnTo>
                  <a:pt x="281" y="6"/>
                </a:lnTo>
                <a:lnTo>
                  <a:pt x="281" y="7"/>
                </a:lnTo>
                <a:lnTo>
                  <a:pt x="282" y="78"/>
                </a:lnTo>
                <a:lnTo>
                  <a:pt x="282" y="158"/>
                </a:lnTo>
                <a:lnTo>
                  <a:pt x="283" y="245"/>
                </a:lnTo>
                <a:lnTo>
                  <a:pt x="284" y="335"/>
                </a:lnTo>
                <a:lnTo>
                  <a:pt x="284" y="426"/>
                </a:lnTo>
                <a:lnTo>
                  <a:pt x="284" y="512"/>
                </a:lnTo>
                <a:lnTo>
                  <a:pt x="284" y="554"/>
                </a:lnTo>
                <a:lnTo>
                  <a:pt x="283" y="593"/>
                </a:lnTo>
                <a:lnTo>
                  <a:pt x="283" y="630"/>
                </a:lnTo>
                <a:lnTo>
                  <a:pt x="281" y="664"/>
                </a:lnTo>
                <a:lnTo>
                  <a:pt x="281" y="666"/>
                </a:lnTo>
                <a:lnTo>
                  <a:pt x="281" y="669"/>
                </a:lnTo>
                <a:lnTo>
                  <a:pt x="280" y="671"/>
                </a:lnTo>
                <a:lnTo>
                  <a:pt x="279" y="673"/>
                </a:lnTo>
                <a:lnTo>
                  <a:pt x="278" y="674"/>
                </a:lnTo>
                <a:lnTo>
                  <a:pt x="276" y="675"/>
                </a:lnTo>
                <a:lnTo>
                  <a:pt x="274" y="676"/>
                </a:lnTo>
                <a:lnTo>
                  <a:pt x="271" y="676"/>
                </a:lnTo>
                <a:lnTo>
                  <a:pt x="269" y="676"/>
                </a:lnTo>
                <a:lnTo>
                  <a:pt x="266" y="676"/>
                </a:lnTo>
                <a:lnTo>
                  <a:pt x="263" y="676"/>
                </a:lnTo>
                <a:lnTo>
                  <a:pt x="261" y="676"/>
                </a:lnTo>
                <a:lnTo>
                  <a:pt x="258" y="675"/>
                </a:lnTo>
                <a:lnTo>
                  <a:pt x="255" y="675"/>
                </a:lnTo>
                <a:lnTo>
                  <a:pt x="253" y="674"/>
                </a:lnTo>
                <a:lnTo>
                  <a:pt x="251" y="672"/>
                </a:lnTo>
                <a:lnTo>
                  <a:pt x="246" y="669"/>
                </a:lnTo>
                <a:lnTo>
                  <a:pt x="242" y="666"/>
                </a:lnTo>
                <a:lnTo>
                  <a:pt x="238" y="664"/>
                </a:lnTo>
                <a:lnTo>
                  <a:pt x="235" y="661"/>
                </a:lnTo>
                <a:lnTo>
                  <a:pt x="228" y="654"/>
                </a:lnTo>
                <a:lnTo>
                  <a:pt x="221" y="648"/>
                </a:lnTo>
                <a:lnTo>
                  <a:pt x="214" y="642"/>
                </a:lnTo>
                <a:lnTo>
                  <a:pt x="207" y="635"/>
                </a:lnTo>
                <a:lnTo>
                  <a:pt x="200" y="629"/>
                </a:lnTo>
                <a:lnTo>
                  <a:pt x="194" y="623"/>
                </a:lnTo>
                <a:lnTo>
                  <a:pt x="190" y="620"/>
                </a:lnTo>
                <a:lnTo>
                  <a:pt x="186" y="618"/>
                </a:lnTo>
                <a:lnTo>
                  <a:pt x="182" y="615"/>
                </a:lnTo>
                <a:lnTo>
                  <a:pt x="178" y="613"/>
                </a:lnTo>
                <a:lnTo>
                  <a:pt x="174" y="610"/>
                </a:lnTo>
                <a:lnTo>
                  <a:pt x="170" y="608"/>
                </a:lnTo>
                <a:lnTo>
                  <a:pt x="165" y="606"/>
                </a:lnTo>
                <a:lnTo>
                  <a:pt x="160" y="604"/>
                </a:lnTo>
                <a:lnTo>
                  <a:pt x="156" y="602"/>
                </a:lnTo>
                <a:lnTo>
                  <a:pt x="150" y="601"/>
                </a:lnTo>
                <a:lnTo>
                  <a:pt x="145" y="599"/>
                </a:lnTo>
                <a:lnTo>
                  <a:pt x="139" y="598"/>
                </a:lnTo>
                <a:lnTo>
                  <a:pt x="133" y="597"/>
                </a:lnTo>
                <a:lnTo>
                  <a:pt x="126" y="596"/>
                </a:lnTo>
                <a:lnTo>
                  <a:pt x="119" y="596"/>
                </a:lnTo>
                <a:lnTo>
                  <a:pt x="112" y="596"/>
                </a:lnTo>
                <a:lnTo>
                  <a:pt x="107" y="596"/>
                </a:lnTo>
                <a:lnTo>
                  <a:pt x="101" y="596"/>
                </a:lnTo>
                <a:lnTo>
                  <a:pt x="95" y="597"/>
                </a:lnTo>
                <a:lnTo>
                  <a:pt x="90" y="598"/>
                </a:lnTo>
                <a:lnTo>
                  <a:pt x="84" y="600"/>
                </a:lnTo>
                <a:lnTo>
                  <a:pt x="79" y="602"/>
                </a:lnTo>
                <a:lnTo>
                  <a:pt x="74" y="604"/>
                </a:lnTo>
                <a:lnTo>
                  <a:pt x="68" y="606"/>
                </a:lnTo>
                <a:lnTo>
                  <a:pt x="64" y="609"/>
                </a:lnTo>
                <a:lnTo>
                  <a:pt x="59" y="612"/>
                </a:lnTo>
                <a:lnTo>
                  <a:pt x="54" y="615"/>
                </a:lnTo>
                <a:lnTo>
                  <a:pt x="49" y="618"/>
                </a:lnTo>
                <a:lnTo>
                  <a:pt x="45" y="622"/>
                </a:lnTo>
                <a:lnTo>
                  <a:pt x="41" y="626"/>
                </a:lnTo>
                <a:lnTo>
                  <a:pt x="37" y="630"/>
                </a:lnTo>
                <a:lnTo>
                  <a:pt x="33" y="635"/>
                </a:lnTo>
                <a:lnTo>
                  <a:pt x="29" y="639"/>
                </a:lnTo>
                <a:lnTo>
                  <a:pt x="26" y="644"/>
                </a:lnTo>
                <a:lnTo>
                  <a:pt x="22" y="649"/>
                </a:lnTo>
                <a:lnTo>
                  <a:pt x="19" y="654"/>
                </a:lnTo>
                <a:lnTo>
                  <a:pt x="16" y="660"/>
                </a:lnTo>
                <a:lnTo>
                  <a:pt x="13" y="665"/>
                </a:lnTo>
                <a:lnTo>
                  <a:pt x="11" y="671"/>
                </a:lnTo>
                <a:lnTo>
                  <a:pt x="9" y="677"/>
                </a:lnTo>
                <a:lnTo>
                  <a:pt x="7" y="682"/>
                </a:lnTo>
                <a:lnTo>
                  <a:pt x="5" y="689"/>
                </a:lnTo>
                <a:lnTo>
                  <a:pt x="3" y="695"/>
                </a:lnTo>
                <a:lnTo>
                  <a:pt x="2" y="702"/>
                </a:lnTo>
                <a:lnTo>
                  <a:pt x="1" y="708"/>
                </a:lnTo>
                <a:lnTo>
                  <a:pt x="0" y="715"/>
                </a:lnTo>
                <a:lnTo>
                  <a:pt x="0" y="721"/>
                </a:lnTo>
                <a:lnTo>
                  <a:pt x="0" y="728"/>
                </a:lnTo>
                <a:lnTo>
                  <a:pt x="0" y="735"/>
                </a:lnTo>
                <a:lnTo>
                  <a:pt x="1" y="743"/>
                </a:lnTo>
                <a:lnTo>
                  <a:pt x="2" y="750"/>
                </a:lnTo>
                <a:lnTo>
                  <a:pt x="3" y="758"/>
                </a:lnTo>
                <a:lnTo>
                  <a:pt x="5" y="765"/>
                </a:lnTo>
                <a:lnTo>
                  <a:pt x="7" y="772"/>
                </a:lnTo>
                <a:lnTo>
                  <a:pt x="10" y="779"/>
                </a:lnTo>
                <a:lnTo>
                  <a:pt x="13" y="786"/>
                </a:lnTo>
                <a:lnTo>
                  <a:pt x="16" y="792"/>
                </a:lnTo>
                <a:lnTo>
                  <a:pt x="20" y="799"/>
                </a:lnTo>
                <a:lnTo>
                  <a:pt x="24" y="805"/>
                </a:lnTo>
                <a:lnTo>
                  <a:pt x="28" y="811"/>
                </a:lnTo>
                <a:lnTo>
                  <a:pt x="32" y="817"/>
                </a:lnTo>
                <a:lnTo>
                  <a:pt x="37" y="822"/>
                </a:lnTo>
                <a:lnTo>
                  <a:pt x="42" y="828"/>
                </a:lnTo>
                <a:lnTo>
                  <a:pt x="48" y="833"/>
                </a:lnTo>
                <a:lnTo>
                  <a:pt x="53" y="837"/>
                </a:lnTo>
                <a:lnTo>
                  <a:pt x="59" y="842"/>
                </a:lnTo>
                <a:lnTo>
                  <a:pt x="65" y="846"/>
                </a:lnTo>
                <a:lnTo>
                  <a:pt x="71" y="849"/>
                </a:lnTo>
                <a:lnTo>
                  <a:pt x="77" y="852"/>
                </a:lnTo>
                <a:lnTo>
                  <a:pt x="84" y="855"/>
                </a:lnTo>
                <a:lnTo>
                  <a:pt x="90" y="858"/>
                </a:lnTo>
                <a:lnTo>
                  <a:pt x="97" y="860"/>
                </a:lnTo>
                <a:lnTo>
                  <a:pt x="104" y="861"/>
                </a:lnTo>
                <a:lnTo>
                  <a:pt x="111" y="863"/>
                </a:lnTo>
                <a:lnTo>
                  <a:pt x="118" y="863"/>
                </a:lnTo>
                <a:lnTo>
                  <a:pt x="125" y="863"/>
                </a:lnTo>
                <a:lnTo>
                  <a:pt x="132" y="863"/>
                </a:lnTo>
                <a:lnTo>
                  <a:pt x="140" y="862"/>
                </a:lnTo>
                <a:lnTo>
                  <a:pt x="147" y="861"/>
                </a:lnTo>
                <a:lnTo>
                  <a:pt x="154" y="858"/>
                </a:lnTo>
                <a:lnTo>
                  <a:pt x="159" y="857"/>
                </a:lnTo>
                <a:lnTo>
                  <a:pt x="164" y="855"/>
                </a:lnTo>
                <a:lnTo>
                  <a:pt x="169" y="852"/>
                </a:lnTo>
                <a:lnTo>
                  <a:pt x="174" y="850"/>
                </a:lnTo>
                <a:lnTo>
                  <a:pt x="178" y="848"/>
                </a:lnTo>
                <a:lnTo>
                  <a:pt x="183" y="845"/>
                </a:lnTo>
                <a:lnTo>
                  <a:pt x="187" y="842"/>
                </a:lnTo>
                <a:lnTo>
                  <a:pt x="192" y="839"/>
                </a:lnTo>
                <a:lnTo>
                  <a:pt x="196" y="835"/>
                </a:lnTo>
                <a:lnTo>
                  <a:pt x="199" y="832"/>
                </a:lnTo>
                <a:lnTo>
                  <a:pt x="203" y="828"/>
                </a:lnTo>
                <a:lnTo>
                  <a:pt x="207" y="824"/>
                </a:lnTo>
                <a:lnTo>
                  <a:pt x="210" y="820"/>
                </a:lnTo>
                <a:lnTo>
                  <a:pt x="214" y="816"/>
                </a:lnTo>
                <a:lnTo>
                  <a:pt x="217" y="812"/>
                </a:lnTo>
                <a:lnTo>
                  <a:pt x="221" y="809"/>
                </a:lnTo>
                <a:lnTo>
                  <a:pt x="223" y="807"/>
                </a:lnTo>
                <a:lnTo>
                  <a:pt x="226" y="804"/>
                </a:lnTo>
                <a:lnTo>
                  <a:pt x="228" y="803"/>
                </a:lnTo>
                <a:lnTo>
                  <a:pt x="230" y="801"/>
                </a:lnTo>
                <a:lnTo>
                  <a:pt x="233" y="799"/>
                </a:lnTo>
                <a:lnTo>
                  <a:pt x="235" y="797"/>
                </a:lnTo>
                <a:lnTo>
                  <a:pt x="238" y="796"/>
                </a:lnTo>
                <a:lnTo>
                  <a:pt x="240" y="794"/>
                </a:lnTo>
                <a:lnTo>
                  <a:pt x="245" y="793"/>
                </a:lnTo>
                <a:lnTo>
                  <a:pt x="250" y="791"/>
                </a:lnTo>
                <a:lnTo>
                  <a:pt x="257" y="790"/>
                </a:lnTo>
                <a:lnTo>
                  <a:pt x="264" y="789"/>
                </a:lnTo>
                <a:lnTo>
                  <a:pt x="267" y="789"/>
                </a:lnTo>
                <a:lnTo>
                  <a:pt x="271" y="789"/>
                </a:lnTo>
                <a:lnTo>
                  <a:pt x="274" y="789"/>
                </a:lnTo>
                <a:lnTo>
                  <a:pt x="276" y="790"/>
                </a:lnTo>
                <a:lnTo>
                  <a:pt x="278" y="791"/>
                </a:lnTo>
                <a:lnTo>
                  <a:pt x="280" y="792"/>
                </a:lnTo>
                <a:lnTo>
                  <a:pt x="280" y="793"/>
                </a:lnTo>
                <a:lnTo>
                  <a:pt x="281" y="793"/>
                </a:lnTo>
                <a:lnTo>
                  <a:pt x="281" y="794"/>
                </a:lnTo>
                <a:lnTo>
                  <a:pt x="281" y="795"/>
                </a:lnTo>
                <a:lnTo>
                  <a:pt x="281" y="1518"/>
                </a:lnTo>
                <a:lnTo>
                  <a:pt x="281" y="1519"/>
                </a:lnTo>
                <a:lnTo>
                  <a:pt x="282" y="1520"/>
                </a:lnTo>
                <a:lnTo>
                  <a:pt x="283" y="1522"/>
                </a:lnTo>
                <a:lnTo>
                  <a:pt x="284" y="1523"/>
                </a:lnTo>
                <a:lnTo>
                  <a:pt x="284" y="1524"/>
                </a:lnTo>
                <a:lnTo>
                  <a:pt x="286" y="1524"/>
                </a:lnTo>
                <a:lnTo>
                  <a:pt x="287" y="1525"/>
                </a:lnTo>
                <a:lnTo>
                  <a:pt x="289" y="1525"/>
                </a:lnTo>
                <a:lnTo>
                  <a:pt x="709" y="1525"/>
                </a:lnTo>
                <a:lnTo>
                  <a:pt x="710" y="1527"/>
                </a:lnTo>
                <a:lnTo>
                  <a:pt x="710" y="1529"/>
                </a:lnTo>
                <a:lnTo>
                  <a:pt x="710" y="1530"/>
                </a:lnTo>
                <a:lnTo>
                  <a:pt x="711" y="1531"/>
                </a:lnTo>
                <a:lnTo>
                  <a:pt x="711" y="1533"/>
                </a:lnTo>
                <a:lnTo>
                  <a:pt x="711" y="1535"/>
                </a:lnTo>
                <a:lnTo>
                  <a:pt x="711" y="1536"/>
                </a:lnTo>
                <a:lnTo>
                  <a:pt x="711" y="1539"/>
                </a:lnTo>
                <a:lnTo>
                  <a:pt x="711" y="1542"/>
                </a:lnTo>
                <a:lnTo>
                  <a:pt x="711" y="1544"/>
                </a:lnTo>
                <a:lnTo>
                  <a:pt x="711" y="1547"/>
                </a:lnTo>
                <a:lnTo>
                  <a:pt x="710" y="1549"/>
                </a:lnTo>
                <a:lnTo>
                  <a:pt x="709" y="1552"/>
                </a:lnTo>
                <a:lnTo>
                  <a:pt x="708" y="1554"/>
                </a:lnTo>
                <a:lnTo>
                  <a:pt x="707" y="1556"/>
                </a:lnTo>
                <a:lnTo>
                  <a:pt x="704" y="1561"/>
                </a:lnTo>
                <a:lnTo>
                  <a:pt x="701" y="1565"/>
                </a:lnTo>
                <a:lnTo>
                  <a:pt x="698" y="1568"/>
                </a:lnTo>
                <a:lnTo>
                  <a:pt x="695" y="1572"/>
                </a:lnTo>
                <a:lnTo>
                  <a:pt x="689" y="1579"/>
                </a:lnTo>
                <a:lnTo>
                  <a:pt x="682" y="1586"/>
                </a:lnTo>
                <a:lnTo>
                  <a:pt x="676" y="1593"/>
                </a:lnTo>
                <a:lnTo>
                  <a:pt x="670" y="1599"/>
                </a:lnTo>
                <a:lnTo>
                  <a:pt x="663" y="1606"/>
                </a:lnTo>
                <a:lnTo>
                  <a:pt x="658" y="1613"/>
                </a:lnTo>
                <a:lnTo>
                  <a:pt x="655" y="1617"/>
                </a:lnTo>
                <a:lnTo>
                  <a:pt x="652" y="1620"/>
                </a:lnTo>
                <a:lnTo>
                  <a:pt x="649" y="1624"/>
                </a:lnTo>
                <a:lnTo>
                  <a:pt x="647" y="1628"/>
                </a:lnTo>
                <a:lnTo>
                  <a:pt x="645" y="1632"/>
                </a:lnTo>
                <a:lnTo>
                  <a:pt x="642" y="1636"/>
                </a:lnTo>
                <a:lnTo>
                  <a:pt x="640" y="1641"/>
                </a:lnTo>
                <a:lnTo>
                  <a:pt x="638" y="1646"/>
                </a:lnTo>
                <a:lnTo>
                  <a:pt x="636" y="1651"/>
                </a:lnTo>
                <a:lnTo>
                  <a:pt x="635" y="1656"/>
                </a:lnTo>
                <a:lnTo>
                  <a:pt x="633" y="1662"/>
                </a:lnTo>
                <a:lnTo>
                  <a:pt x="632" y="1667"/>
                </a:lnTo>
                <a:lnTo>
                  <a:pt x="631" y="1673"/>
                </a:lnTo>
                <a:lnTo>
                  <a:pt x="630" y="1680"/>
                </a:lnTo>
                <a:lnTo>
                  <a:pt x="630" y="1686"/>
                </a:lnTo>
                <a:lnTo>
                  <a:pt x="630" y="1693"/>
                </a:lnTo>
                <a:lnTo>
                  <a:pt x="630" y="1699"/>
                </a:lnTo>
                <a:lnTo>
                  <a:pt x="631" y="1705"/>
                </a:lnTo>
                <a:lnTo>
                  <a:pt x="631" y="1711"/>
                </a:lnTo>
                <a:lnTo>
                  <a:pt x="632" y="1716"/>
                </a:lnTo>
                <a:lnTo>
                  <a:pt x="634" y="1721"/>
                </a:lnTo>
                <a:lnTo>
                  <a:pt x="636" y="1727"/>
                </a:lnTo>
                <a:lnTo>
                  <a:pt x="638" y="1732"/>
                </a:lnTo>
                <a:lnTo>
                  <a:pt x="640" y="1737"/>
                </a:lnTo>
                <a:lnTo>
                  <a:pt x="643" y="1742"/>
                </a:lnTo>
                <a:lnTo>
                  <a:pt x="646" y="1747"/>
                </a:lnTo>
                <a:lnTo>
                  <a:pt x="649" y="1751"/>
                </a:lnTo>
                <a:lnTo>
                  <a:pt x="653" y="1756"/>
                </a:lnTo>
                <a:lnTo>
                  <a:pt x="657" y="1760"/>
                </a:lnTo>
                <a:lnTo>
                  <a:pt x="661" y="1765"/>
                </a:lnTo>
                <a:lnTo>
                  <a:pt x="665" y="1769"/>
                </a:lnTo>
                <a:lnTo>
                  <a:pt x="669" y="1772"/>
                </a:lnTo>
                <a:lnTo>
                  <a:pt x="674" y="1776"/>
                </a:lnTo>
                <a:lnTo>
                  <a:pt x="678" y="1780"/>
                </a:lnTo>
                <a:lnTo>
                  <a:pt x="684" y="1783"/>
                </a:lnTo>
                <a:lnTo>
                  <a:pt x="689" y="1786"/>
                </a:lnTo>
                <a:lnTo>
                  <a:pt x="694" y="1789"/>
                </a:lnTo>
                <a:lnTo>
                  <a:pt x="700" y="1791"/>
                </a:lnTo>
                <a:lnTo>
                  <a:pt x="705" y="1794"/>
                </a:lnTo>
                <a:lnTo>
                  <a:pt x="711" y="1796"/>
                </a:lnTo>
                <a:lnTo>
                  <a:pt x="717" y="1798"/>
                </a:lnTo>
                <a:lnTo>
                  <a:pt x="724" y="1800"/>
                </a:lnTo>
                <a:lnTo>
                  <a:pt x="730" y="1801"/>
                </a:lnTo>
                <a:lnTo>
                  <a:pt x="736" y="1803"/>
                </a:lnTo>
                <a:lnTo>
                  <a:pt x="743" y="1804"/>
                </a:lnTo>
                <a:lnTo>
                  <a:pt x="750" y="1804"/>
                </a:lnTo>
                <a:lnTo>
                  <a:pt x="756" y="1805"/>
                </a:lnTo>
                <a:lnTo>
                  <a:pt x="763" y="1805"/>
                </a:lnTo>
                <a:lnTo>
                  <a:pt x="771" y="1805"/>
                </a:lnTo>
                <a:lnTo>
                  <a:pt x="778" y="1804"/>
                </a:lnTo>
                <a:lnTo>
                  <a:pt x="786" y="1803"/>
                </a:lnTo>
                <a:lnTo>
                  <a:pt x="793" y="1802"/>
                </a:lnTo>
                <a:lnTo>
                  <a:pt x="801" y="1800"/>
                </a:lnTo>
                <a:lnTo>
                  <a:pt x="808" y="1798"/>
                </a:lnTo>
                <a:lnTo>
                  <a:pt x="815" y="1795"/>
                </a:lnTo>
                <a:lnTo>
                  <a:pt x="822" y="1792"/>
                </a:lnTo>
                <a:lnTo>
                  <a:pt x="828" y="1789"/>
                </a:lnTo>
                <a:lnTo>
                  <a:pt x="835" y="1785"/>
                </a:lnTo>
                <a:lnTo>
                  <a:pt x="841" y="1781"/>
                </a:lnTo>
                <a:lnTo>
                  <a:pt x="847" y="1777"/>
                </a:lnTo>
                <a:lnTo>
                  <a:pt x="853" y="1772"/>
                </a:lnTo>
                <a:lnTo>
                  <a:pt x="858" y="1768"/>
                </a:lnTo>
                <a:lnTo>
                  <a:pt x="864" y="1763"/>
                </a:lnTo>
                <a:lnTo>
                  <a:pt x="869" y="1758"/>
                </a:lnTo>
                <a:lnTo>
                  <a:pt x="873" y="1752"/>
                </a:lnTo>
                <a:lnTo>
                  <a:pt x="878" y="1747"/>
                </a:lnTo>
                <a:lnTo>
                  <a:pt x="882" y="1741"/>
                </a:lnTo>
                <a:lnTo>
                  <a:pt x="886" y="1735"/>
                </a:lnTo>
                <a:lnTo>
                  <a:pt x="889" y="1728"/>
                </a:lnTo>
                <a:lnTo>
                  <a:pt x="892" y="1722"/>
                </a:lnTo>
                <a:lnTo>
                  <a:pt x="894" y="1715"/>
                </a:lnTo>
                <a:lnTo>
                  <a:pt x="896" y="1709"/>
                </a:lnTo>
                <a:lnTo>
                  <a:pt x="898" y="1702"/>
                </a:lnTo>
                <a:lnTo>
                  <a:pt x="899" y="1695"/>
                </a:lnTo>
                <a:lnTo>
                  <a:pt x="900" y="1688"/>
                </a:lnTo>
                <a:lnTo>
                  <a:pt x="900" y="1681"/>
                </a:lnTo>
                <a:lnTo>
                  <a:pt x="899" y="1674"/>
                </a:lnTo>
                <a:lnTo>
                  <a:pt x="898" y="1667"/>
                </a:lnTo>
                <a:lnTo>
                  <a:pt x="897" y="1659"/>
                </a:lnTo>
                <a:lnTo>
                  <a:pt x="895" y="1652"/>
                </a:lnTo>
                <a:lnTo>
                  <a:pt x="893" y="1647"/>
                </a:lnTo>
                <a:lnTo>
                  <a:pt x="891" y="1642"/>
                </a:lnTo>
                <a:lnTo>
                  <a:pt x="889" y="1637"/>
                </a:lnTo>
                <a:lnTo>
                  <a:pt x="886" y="1633"/>
                </a:lnTo>
                <a:lnTo>
                  <a:pt x="884" y="1628"/>
                </a:lnTo>
                <a:lnTo>
                  <a:pt x="881" y="1624"/>
                </a:lnTo>
                <a:lnTo>
                  <a:pt x="878" y="1619"/>
                </a:lnTo>
                <a:lnTo>
                  <a:pt x="875" y="1615"/>
                </a:lnTo>
                <a:lnTo>
                  <a:pt x="871" y="1611"/>
                </a:lnTo>
                <a:lnTo>
                  <a:pt x="868" y="1607"/>
                </a:lnTo>
                <a:lnTo>
                  <a:pt x="864" y="1603"/>
                </a:lnTo>
                <a:lnTo>
                  <a:pt x="860" y="1600"/>
                </a:lnTo>
                <a:lnTo>
                  <a:pt x="856" y="1596"/>
                </a:lnTo>
                <a:lnTo>
                  <a:pt x="852" y="1593"/>
                </a:lnTo>
                <a:lnTo>
                  <a:pt x="848" y="1589"/>
                </a:lnTo>
                <a:lnTo>
                  <a:pt x="845" y="1586"/>
                </a:lnTo>
                <a:lnTo>
                  <a:pt x="843" y="1584"/>
                </a:lnTo>
                <a:lnTo>
                  <a:pt x="841" y="1581"/>
                </a:lnTo>
                <a:lnTo>
                  <a:pt x="839" y="1579"/>
                </a:lnTo>
                <a:lnTo>
                  <a:pt x="837" y="1577"/>
                </a:lnTo>
                <a:lnTo>
                  <a:pt x="835" y="1574"/>
                </a:lnTo>
                <a:lnTo>
                  <a:pt x="833" y="1572"/>
                </a:lnTo>
                <a:lnTo>
                  <a:pt x="831" y="1569"/>
                </a:lnTo>
                <a:lnTo>
                  <a:pt x="830" y="1567"/>
                </a:lnTo>
                <a:lnTo>
                  <a:pt x="829" y="1564"/>
                </a:lnTo>
                <a:lnTo>
                  <a:pt x="828" y="1560"/>
                </a:lnTo>
                <a:lnTo>
                  <a:pt x="828" y="1555"/>
                </a:lnTo>
                <a:lnTo>
                  <a:pt x="827" y="1549"/>
                </a:lnTo>
                <a:lnTo>
                  <a:pt x="826" y="1543"/>
                </a:lnTo>
                <a:lnTo>
                  <a:pt x="826" y="1536"/>
                </a:lnTo>
                <a:lnTo>
                  <a:pt x="827" y="1531"/>
                </a:lnTo>
                <a:lnTo>
                  <a:pt x="827" y="1525"/>
                </a:lnTo>
                <a:lnTo>
                  <a:pt x="1238" y="1525"/>
                </a:lnTo>
                <a:lnTo>
                  <a:pt x="1239" y="1525"/>
                </a:lnTo>
                <a:lnTo>
                  <a:pt x="1241" y="1524"/>
                </a:lnTo>
                <a:lnTo>
                  <a:pt x="1242" y="1524"/>
                </a:lnTo>
                <a:lnTo>
                  <a:pt x="1243" y="1523"/>
                </a:lnTo>
                <a:lnTo>
                  <a:pt x="1244" y="1522"/>
                </a:lnTo>
                <a:lnTo>
                  <a:pt x="1245" y="1520"/>
                </a:lnTo>
                <a:lnTo>
                  <a:pt x="1245" y="1519"/>
                </a:lnTo>
                <a:lnTo>
                  <a:pt x="1245" y="1518"/>
                </a:lnTo>
                <a:lnTo>
                  <a:pt x="1245" y="7"/>
                </a:lnTo>
                <a:lnTo>
                  <a:pt x="1245" y="6"/>
                </a:lnTo>
                <a:lnTo>
                  <a:pt x="1245" y="4"/>
                </a:lnTo>
                <a:lnTo>
                  <a:pt x="1244" y="3"/>
                </a:lnTo>
                <a:lnTo>
                  <a:pt x="1243" y="2"/>
                </a:lnTo>
                <a:lnTo>
                  <a:pt x="1242" y="1"/>
                </a:lnTo>
                <a:lnTo>
                  <a:pt x="1241" y="0"/>
                </a:lnTo>
                <a:lnTo>
                  <a:pt x="1239" y="0"/>
                </a:lnTo>
                <a:lnTo>
                  <a:pt x="1238" y="0"/>
                </a:lnTo>
                <a:close/>
              </a:path>
            </a:pathLst>
          </a:custGeom>
          <a:solidFill>
            <a:srgbClr val="E0301E"/>
          </a:solidFill>
          <a:ln w="19050" cmpd="sng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685783">
              <a:buClrTx/>
              <a:defRPr/>
            </a:pPr>
            <a:endParaRPr lang="en-GB" sz="1350" kern="1200">
              <a:ea typeface="+mn-ea"/>
              <a:cs typeface="+mn-cs"/>
            </a:endParaRPr>
          </a:p>
        </p:txBody>
      </p:sp>
      <p:sp>
        <p:nvSpPr>
          <p:cNvPr id="92" name="Freeform 33">
            <a:extLst>
              <a:ext uri="{FF2B5EF4-FFF2-40B4-BE49-F238E27FC236}">
                <a16:creationId xmlns:a16="http://schemas.microsoft.com/office/drawing/2014/main" id="{682FC8C1-8C67-49A8-853E-20AC407DB468}"/>
              </a:ext>
            </a:extLst>
          </p:cNvPr>
          <p:cNvSpPr>
            <a:spLocks/>
          </p:cNvSpPr>
          <p:nvPr/>
        </p:nvSpPr>
        <p:spPr bwMode="blackWhite">
          <a:xfrm>
            <a:off x="4947352" y="3221019"/>
            <a:ext cx="207151" cy="256022"/>
          </a:xfrm>
          <a:custGeom>
            <a:avLst/>
            <a:gdLst>
              <a:gd name="T0" fmla="*/ 4237 w 796"/>
              <a:gd name="T1" fmla="*/ 2742 h 648"/>
              <a:gd name="T2" fmla="*/ 4326 w 796"/>
              <a:gd name="T3" fmla="*/ 1703 h 648"/>
              <a:gd name="T4" fmla="*/ 4454 w 796"/>
              <a:gd name="T5" fmla="*/ 1680 h 648"/>
              <a:gd name="T6" fmla="*/ 4672 w 796"/>
              <a:gd name="T7" fmla="*/ 1780 h 648"/>
              <a:gd name="T8" fmla="*/ 4844 w 796"/>
              <a:gd name="T9" fmla="*/ 1770 h 648"/>
              <a:gd name="T10" fmla="*/ 5033 w 796"/>
              <a:gd name="T11" fmla="*/ 1692 h 648"/>
              <a:gd name="T12" fmla="*/ 5165 w 796"/>
              <a:gd name="T13" fmla="*/ 1557 h 648"/>
              <a:gd name="T14" fmla="*/ 5190 w 796"/>
              <a:gd name="T15" fmla="*/ 1380 h 648"/>
              <a:gd name="T16" fmla="*/ 5165 w 796"/>
              <a:gd name="T17" fmla="*/ 1218 h 648"/>
              <a:gd name="T18" fmla="*/ 5033 w 796"/>
              <a:gd name="T19" fmla="*/ 1083 h 648"/>
              <a:gd name="T20" fmla="*/ 4844 w 796"/>
              <a:gd name="T21" fmla="*/ 1005 h 648"/>
              <a:gd name="T22" fmla="*/ 4672 w 796"/>
              <a:gd name="T23" fmla="*/ 1005 h 648"/>
              <a:gd name="T24" fmla="*/ 4467 w 796"/>
              <a:gd name="T25" fmla="*/ 1092 h 648"/>
              <a:gd name="T26" fmla="*/ 4326 w 796"/>
              <a:gd name="T27" fmla="*/ 1069 h 648"/>
              <a:gd name="T28" fmla="*/ 4237 w 796"/>
              <a:gd name="T29" fmla="*/ 0 h 648"/>
              <a:gd name="T30" fmla="*/ 3056 w 796"/>
              <a:gd name="T31" fmla="*/ 0 h 648"/>
              <a:gd name="T32" fmla="*/ 2942 w 796"/>
              <a:gd name="T33" fmla="*/ 130 h 648"/>
              <a:gd name="T34" fmla="*/ 3019 w 796"/>
              <a:gd name="T35" fmla="*/ 285 h 648"/>
              <a:gd name="T36" fmla="*/ 3056 w 796"/>
              <a:gd name="T37" fmla="*/ 421 h 648"/>
              <a:gd name="T38" fmla="*/ 3019 w 796"/>
              <a:gd name="T39" fmla="*/ 562 h 648"/>
              <a:gd name="T40" fmla="*/ 2862 w 796"/>
              <a:gd name="T41" fmla="*/ 717 h 648"/>
              <a:gd name="T42" fmla="*/ 2705 w 796"/>
              <a:gd name="T43" fmla="*/ 775 h 648"/>
              <a:gd name="T44" fmla="*/ 2477 w 796"/>
              <a:gd name="T45" fmla="*/ 775 h 648"/>
              <a:gd name="T46" fmla="*/ 2307 w 796"/>
              <a:gd name="T47" fmla="*/ 717 h 648"/>
              <a:gd name="T48" fmla="*/ 2171 w 796"/>
              <a:gd name="T49" fmla="*/ 562 h 648"/>
              <a:gd name="T50" fmla="*/ 2131 w 796"/>
              <a:gd name="T51" fmla="*/ 421 h 648"/>
              <a:gd name="T52" fmla="*/ 2171 w 796"/>
              <a:gd name="T53" fmla="*/ 285 h 648"/>
              <a:gd name="T54" fmla="*/ 2244 w 796"/>
              <a:gd name="T55" fmla="*/ 130 h 648"/>
              <a:gd name="T56" fmla="*/ 2131 w 796"/>
              <a:gd name="T57" fmla="*/ 0 h 648"/>
              <a:gd name="T58" fmla="*/ 945 w 796"/>
              <a:gd name="T59" fmla="*/ 0 h 648"/>
              <a:gd name="T60" fmla="*/ 861 w 796"/>
              <a:gd name="T61" fmla="*/ 1069 h 648"/>
              <a:gd name="T62" fmla="*/ 729 w 796"/>
              <a:gd name="T63" fmla="*/ 1092 h 648"/>
              <a:gd name="T64" fmla="*/ 519 w 796"/>
              <a:gd name="T65" fmla="*/ 1005 h 648"/>
              <a:gd name="T66" fmla="*/ 346 w 796"/>
              <a:gd name="T67" fmla="*/ 1005 h 648"/>
              <a:gd name="T68" fmla="*/ 164 w 796"/>
              <a:gd name="T69" fmla="*/ 1083 h 648"/>
              <a:gd name="T70" fmla="*/ 39 w 796"/>
              <a:gd name="T71" fmla="*/ 1218 h 648"/>
              <a:gd name="T72" fmla="*/ 0 w 796"/>
              <a:gd name="T73" fmla="*/ 1380 h 648"/>
              <a:gd name="T74" fmla="*/ 39 w 796"/>
              <a:gd name="T75" fmla="*/ 1557 h 648"/>
              <a:gd name="T76" fmla="*/ 164 w 796"/>
              <a:gd name="T77" fmla="*/ 1692 h 648"/>
              <a:gd name="T78" fmla="*/ 346 w 796"/>
              <a:gd name="T79" fmla="*/ 1770 h 648"/>
              <a:gd name="T80" fmla="*/ 519 w 796"/>
              <a:gd name="T81" fmla="*/ 1780 h 648"/>
              <a:gd name="T82" fmla="*/ 729 w 796"/>
              <a:gd name="T83" fmla="*/ 1680 h 648"/>
              <a:gd name="T84" fmla="*/ 861 w 796"/>
              <a:gd name="T85" fmla="*/ 1703 h 648"/>
              <a:gd name="T86" fmla="*/ 945 w 796"/>
              <a:gd name="T87" fmla="*/ 1801 h 648"/>
              <a:gd name="T88" fmla="*/ 2146 w 796"/>
              <a:gd name="T89" fmla="*/ 2729 h 648"/>
              <a:gd name="T90" fmla="*/ 2244 w 796"/>
              <a:gd name="T91" fmla="*/ 2886 h 648"/>
              <a:gd name="T92" fmla="*/ 2171 w 796"/>
              <a:gd name="T93" fmla="*/ 3029 h 648"/>
              <a:gd name="T94" fmla="*/ 2131 w 796"/>
              <a:gd name="T95" fmla="*/ 3171 h 648"/>
              <a:gd name="T96" fmla="*/ 2171 w 796"/>
              <a:gd name="T97" fmla="*/ 3321 h 648"/>
              <a:gd name="T98" fmla="*/ 2320 w 796"/>
              <a:gd name="T99" fmla="*/ 3472 h 648"/>
              <a:gd name="T100" fmla="*/ 2477 w 796"/>
              <a:gd name="T101" fmla="*/ 3537 h 648"/>
              <a:gd name="T102" fmla="*/ 2705 w 796"/>
              <a:gd name="T103" fmla="*/ 3537 h 648"/>
              <a:gd name="T104" fmla="*/ 2875 w 796"/>
              <a:gd name="T105" fmla="*/ 3472 h 648"/>
              <a:gd name="T106" fmla="*/ 3032 w 796"/>
              <a:gd name="T107" fmla="*/ 3321 h 648"/>
              <a:gd name="T108" fmla="*/ 3056 w 796"/>
              <a:gd name="T109" fmla="*/ 3171 h 648"/>
              <a:gd name="T110" fmla="*/ 3032 w 796"/>
              <a:gd name="T111" fmla="*/ 3029 h 648"/>
              <a:gd name="T112" fmla="*/ 2952 w 796"/>
              <a:gd name="T113" fmla="*/ 2886 h 648"/>
              <a:gd name="T114" fmla="*/ 3056 w 796"/>
              <a:gd name="T115" fmla="*/ 2742 h 64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796"/>
              <a:gd name="T175" fmla="*/ 0 h 648"/>
              <a:gd name="T176" fmla="*/ 796 w 796"/>
              <a:gd name="T177" fmla="*/ 648 h 64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796" h="648">
                <a:moveTo>
                  <a:pt x="473" y="500"/>
                </a:moveTo>
                <a:lnTo>
                  <a:pt x="650" y="502"/>
                </a:lnTo>
                <a:lnTo>
                  <a:pt x="650" y="322"/>
                </a:lnTo>
                <a:lnTo>
                  <a:pt x="664" y="312"/>
                </a:lnTo>
                <a:lnTo>
                  <a:pt x="677" y="308"/>
                </a:lnTo>
                <a:lnTo>
                  <a:pt x="683" y="308"/>
                </a:lnTo>
                <a:lnTo>
                  <a:pt x="703" y="320"/>
                </a:lnTo>
                <a:lnTo>
                  <a:pt x="717" y="326"/>
                </a:lnTo>
                <a:lnTo>
                  <a:pt x="731" y="326"/>
                </a:lnTo>
                <a:lnTo>
                  <a:pt x="743" y="324"/>
                </a:lnTo>
                <a:lnTo>
                  <a:pt x="756" y="320"/>
                </a:lnTo>
                <a:lnTo>
                  <a:pt x="772" y="310"/>
                </a:lnTo>
                <a:lnTo>
                  <a:pt x="784" y="296"/>
                </a:lnTo>
                <a:lnTo>
                  <a:pt x="792" y="285"/>
                </a:lnTo>
                <a:lnTo>
                  <a:pt x="796" y="273"/>
                </a:lnTo>
                <a:lnTo>
                  <a:pt x="796" y="253"/>
                </a:lnTo>
                <a:lnTo>
                  <a:pt x="796" y="237"/>
                </a:lnTo>
                <a:lnTo>
                  <a:pt x="792" y="223"/>
                </a:lnTo>
                <a:lnTo>
                  <a:pt x="784" y="212"/>
                </a:lnTo>
                <a:lnTo>
                  <a:pt x="772" y="198"/>
                </a:lnTo>
                <a:lnTo>
                  <a:pt x="756" y="188"/>
                </a:lnTo>
                <a:lnTo>
                  <a:pt x="743" y="184"/>
                </a:lnTo>
                <a:lnTo>
                  <a:pt x="731" y="184"/>
                </a:lnTo>
                <a:lnTo>
                  <a:pt x="717" y="184"/>
                </a:lnTo>
                <a:lnTo>
                  <a:pt x="703" y="188"/>
                </a:lnTo>
                <a:lnTo>
                  <a:pt x="685" y="200"/>
                </a:lnTo>
                <a:lnTo>
                  <a:pt x="677" y="200"/>
                </a:lnTo>
                <a:lnTo>
                  <a:pt x="664" y="196"/>
                </a:lnTo>
                <a:lnTo>
                  <a:pt x="650" y="188"/>
                </a:lnTo>
                <a:lnTo>
                  <a:pt x="650" y="0"/>
                </a:lnTo>
                <a:lnTo>
                  <a:pt x="473" y="0"/>
                </a:lnTo>
                <a:lnTo>
                  <a:pt x="469" y="0"/>
                </a:lnTo>
                <a:lnTo>
                  <a:pt x="455" y="12"/>
                </a:lnTo>
                <a:lnTo>
                  <a:pt x="451" y="24"/>
                </a:lnTo>
                <a:lnTo>
                  <a:pt x="451" y="32"/>
                </a:lnTo>
                <a:lnTo>
                  <a:pt x="463" y="52"/>
                </a:lnTo>
                <a:lnTo>
                  <a:pt x="469" y="64"/>
                </a:lnTo>
                <a:lnTo>
                  <a:pt x="469" y="77"/>
                </a:lnTo>
                <a:lnTo>
                  <a:pt x="469" y="91"/>
                </a:lnTo>
                <a:lnTo>
                  <a:pt x="463" y="103"/>
                </a:lnTo>
                <a:lnTo>
                  <a:pt x="455" y="119"/>
                </a:lnTo>
                <a:lnTo>
                  <a:pt x="439" y="131"/>
                </a:lnTo>
                <a:lnTo>
                  <a:pt x="427" y="139"/>
                </a:lnTo>
                <a:lnTo>
                  <a:pt x="415" y="142"/>
                </a:lnTo>
                <a:lnTo>
                  <a:pt x="398" y="142"/>
                </a:lnTo>
                <a:lnTo>
                  <a:pt x="380" y="142"/>
                </a:lnTo>
                <a:lnTo>
                  <a:pt x="368" y="139"/>
                </a:lnTo>
                <a:lnTo>
                  <a:pt x="354" y="131"/>
                </a:lnTo>
                <a:lnTo>
                  <a:pt x="341" y="119"/>
                </a:lnTo>
                <a:lnTo>
                  <a:pt x="333" y="103"/>
                </a:lnTo>
                <a:lnTo>
                  <a:pt x="327" y="91"/>
                </a:lnTo>
                <a:lnTo>
                  <a:pt x="327" y="77"/>
                </a:lnTo>
                <a:lnTo>
                  <a:pt x="327" y="64"/>
                </a:lnTo>
                <a:lnTo>
                  <a:pt x="333" y="52"/>
                </a:lnTo>
                <a:lnTo>
                  <a:pt x="344" y="32"/>
                </a:lnTo>
                <a:lnTo>
                  <a:pt x="344" y="24"/>
                </a:lnTo>
                <a:lnTo>
                  <a:pt x="341" y="12"/>
                </a:lnTo>
                <a:lnTo>
                  <a:pt x="327" y="0"/>
                </a:lnTo>
                <a:lnTo>
                  <a:pt x="329" y="0"/>
                </a:lnTo>
                <a:lnTo>
                  <a:pt x="145" y="0"/>
                </a:lnTo>
                <a:lnTo>
                  <a:pt x="145" y="188"/>
                </a:lnTo>
                <a:lnTo>
                  <a:pt x="132" y="196"/>
                </a:lnTo>
                <a:lnTo>
                  <a:pt x="120" y="200"/>
                </a:lnTo>
                <a:lnTo>
                  <a:pt x="112" y="200"/>
                </a:lnTo>
                <a:lnTo>
                  <a:pt x="92" y="188"/>
                </a:lnTo>
                <a:lnTo>
                  <a:pt x="80" y="184"/>
                </a:lnTo>
                <a:lnTo>
                  <a:pt x="67" y="184"/>
                </a:lnTo>
                <a:lnTo>
                  <a:pt x="53" y="184"/>
                </a:lnTo>
                <a:lnTo>
                  <a:pt x="39" y="188"/>
                </a:lnTo>
                <a:lnTo>
                  <a:pt x="25" y="198"/>
                </a:lnTo>
                <a:lnTo>
                  <a:pt x="11" y="212"/>
                </a:lnTo>
                <a:lnTo>
                  <a:pt x="6" y="223"/>
                </a:lnTo>
                <a:lnTo>
                  <a:pt x="0" y="237"/>
                </a:lnTo>
                <a:lnTo>
                  <a:pt x="0" y="253"/>
                </a:lnTo>
                <a:lnTo>
                  <a:pt x="0" y="273"/>
                </a:lnTo>
                <a:lnTo>
                  <a:pt x="6" y="285"/>
                </a:lnTo>
                <a:lnTo>
                  <a:pt x="11" y="296"/>
                </a:lnTo>
                <a:lnTo>
                  <a:pt x="25" y="310"/>
                </a:lnTo>
                <a:lnTo>
                  <a:pt x="39" y="320"/>
                </a:lnTo>
                <a:lnTo>
                  <a:pt x="53" y="324"/>
                </a:lnTo>
                <a:lnTo>
                  <a:pt x="67" y="326"/>
                </a:lnTo>
                <a:lnTo>
                  <a:pt x="80" y="326"/>
                </a:lnTo>
                <a:lnTo>
                  <a:pt x="92" y="320"/>
                </a:lnTo>
                <a:lnTo>
                  <a:pt x="112" y="308"/>
                </a:lnTo>
                <a:lnTo>
                  <a:pt x="120" y="308"/>
                </a:lnTo>
                <a:lnTo>
                  <a:pt x="132" y="312"/>
                </a:lnTo>
                <a:lnTo>
                  <a:pt x="145" y="324"/>
                </a:lnTo>
                <a:lnTo>
                  <a:pt x="145" y="330"/>
                </a:lnTo>
                <a:lnTo>
                  <a:pt x="145" y="500"/>
                </a:lnTo>
                <a:lnTo>
                  <a:pt x="329" y="500"/>
                </a:lnTo>
                <a:lnTo>
                  <a:pt x="341" y="516"/>
                </a:lnTo>
                <a:lnTo>
                  <a:pt x="344" y="529"/>
                </a:lnTo>
                <a:lnTo>
                  <a:pt x="344" y="535"/>
                </a:lnTo>
                <a:lnTo>
                  <a:pt x="333" y="555"/>
                </a:lnTo>
                <a:lnTo>
                  <a:pt x="327" y="569"/>
                </a:lnTo>
                <a:lnTo>
                  <a:pt x="327" y="581"/>
                </a:lnTo>
                <a:lnTo>
                  <a:pt x="329" y="595"/>
                </a:lnTo>
                <a:lnTo>
                  <a:pt x="333" y="608"/>
                </a:lnTo>
                <a:lnTo>
                  <a:pt x="342" y="622"/>
                </a:lnTo>
                <a:lnTo>
                  <a:pt x="356" y="636"/>
                </a:lnTo>
                <a:lnTo>
                  <a:pt x="368" y="642"/>
                </a:lnTo>
                <a:lnTo>
                  <a:pt x="380" y="648"/>
                </a:lnTo>
                <a:lnTo>
                  <a:pt x="398" y="648"/>
                </a:lnTo>
                <a:lnTo>
                  <a:pt x="415" y="648"/>
                </a:lnTo>
                <a:lnTo>
                  <a:pt x="429" y="642"/>
                </a:lnTo>
                <a:lnTo>
                  <a:pt x="441" y="636"/>
                </a:lnTo>
                <a:lnTo>
                  <a:pt x="455" y="622"/>
                </a:lnTo>
                <a:lnTo>
                  <a:pt x="465" y="608"/>
                </a:lnTo>
                <a:lnTo>
                  <a:pt x="469" y="595"/>
                </a:lnTo>
                <a:lnTo>
                  <a:pt x="469" y="581"/>
                </a:lnTo>
                <a:lnTo>
                  <a:pt x="469" y="569"/>
                </a:lnTo>
                <a:lnTo>
                  <a:pt x="465" y="555"/>
                </a:lnTo>
                <a:lnTo>
                  <a:pt x="453" y="535"/>
                </a:lnTo>
                <a:lnTo>
                  <a:pt x="453" y="529"/>
                </a:lnTo>
                <a:lnTo>
                  <a:pt x="457" y="516"/>
                </a:lnTo>
                <a:lnTo>
                  <a:pt x="469" y="502"/>
                </a:lnTo>
                <a:lnTo>
                  <a:pt x="473" y="500"/>
                </a:lnTo>
                <a:close/>
              </a:path>
            </a:pathLst>
          </a:custGeom>
          <a:solidFill>
            <a:srgbClr val="E0301E"/>
          </a:solidFill>
          <a:ln w="19050" cap="flat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lIns="69056" tIns="34529" rIns="69056" bIns="34529" anchor="ctr"/>
          <a:lstStyle/>
          <a:p>
            <a:pPr defTabSz="685783">
              <a:buClrTx/>
              <a:defRPr/>
            </a:pPr>
            <a:endParaRPr lang="en-GB" sz="1350" kern="1200">
              <a:solidFill>
                <a:sysClr val="windowText" lastClr="000000"/>
              </a:solidFill>
              <a:ea typeface="+mn-ea"/>
              <a:cs typeface="+mn-cs"/>
            </a:endParaRPr>
          </a:p>
        </p:txBody>
      </p:sp>
      <p:sp>
        <p:nvSpPr>
          <p:cNvPr id="93" name="Freeform 46">
            <a:extLst>
              <a:ext uri="{FF2B5EF4-FFF2-40B4-BE49-F238E27FC236}">
                <a16:creationId xmlns:a16="http://schemas.microsoft.com/office/drawing/2014/main" id="{FA9B6DE6-7D59-4E5A-ADEC-366E0029A6F2}"/>
              </a:ext>
            </a:extLst>
          </p:cNvPr>
          <p:cNvSpPr>
            <a:spLocks/>
          </p:cNvSpPr>
          <p:nvPr/>
        </p:nvSpPr>
        <p:spPr bwMode="blackWhite">
          <a:xfrm>
            <a:off x="5038284" y="3626179"/>
            <a:ext cx="130658" cy="256821"/>
          </a:xfrm>
          <a:custGeom>
            <a:avLst/>
            <a:gdLst>
              <a:gd name="T0" fmla="*/ 2134 w 502"/>
              <a:gd name="T1" fmla="*/ 777 h 649"/>
              <a:gd name="T2" fmla="*/ 3276 w 502"/>
              <a:gd name="T3" fmla="*/ 777 h 649"/>
              <a:gd name="T4" fmla="*/ 3276 w 502"/>
              <a:gd name="T5" fmla="*/ 3555 h 649"/>
              <a:gd name="T6" fmla="*/ 0 w 502"/>
              <a:gd name="T7" fmla="*/ 3555 h 649"/>
              <a:gd name="T8" fmla="*/ 0 w 502"/>
              <a:gd name="T9" fmla="*/ 2586 h 649"/>
              <a:gd name="T10" fmla="*/ 77 w 502"/>
              <a:gd name="T11" fmla="*/ 2485 h 649"/>
              <a:gd name="T12" fmla="*/ 164 w 502"/>
              <a:gd name="T13" fmla="*/ 2464 h 649"/>
              <a:gd name="T14" fmla="*/ 202 w 502"/>
              <a:gd name="T15" fmla="*/ 2464 h 649"/>
              <a:gd name="T16" fmla="*/ 333 w 502"/>
              <a:gd name="T17" fmla="*/ 2529 h 649"/>
              <a:gd name="T18" fmla="*/ 422 w 502"/>
              <a:gd name="T19" fmla="*/ 2563 h 649"/>
              <a:gd name="T20" fmla="*/ 518 w 502"/>
              <a:gd name="T21" fmla="*/ 2563 h 649"/>
              <a:gd name="T22" fmla="*/ 587 w 502"/>
              <a:gd name="T23" fmla="*/ 2551 h 649"/>
              <a:gd name="T24" fmla="*/ 676 w 502"/>
              <a:gd name="T25" fmla="*/ 2529 h 649"/>
              <a:gd name="T26" fmla="*/ 768 w 502"/>
              <a:gd name="T27" fmla="*/ 2477 h 649"/>
              <a:gd name="T28" fmla="*/ 863 w 502"/>
              <a:gd name="T29" fmla="*/ 2399 h 649"/>
              <a:gd name="T30" fmla="*/ 901 w 502"/>
              <a:gd name="T31" fmla="*/ 2334 h 649"/>
              <a:gd name="T32" fmla="*/ 940 w 502"/>
              <a:gd name="T33" fmla="*/ 2274 h 649"/>
              <a:gd name="T34" fmla="*/ 940 w 502"/>
              <a:gd name="T35" fmla="*/ 2175 h 649"/>
              <a:gd name="T36" fmla="*/ 940 w 502"/>
              <a:gd name="T37" fmla="*/ 2075 h 649"/>
              <a:gd name="T38" fmla="*/ 901 w 502"/>
              <a:gd name="T39" fmla="*/ 2009 h 649"/>
              <a:gd name="T40" fmla="*/ 863 w 502"/>
              <a:gd name="T41" fmla="*/ 1944 h 649"/>
              <a:gd name="T42" fmla="*/ 768 w 502"/>
              <a:gd name="T43" fmla="*/ 1861 h 649"/>
              <a:gd name="T44" fmla="*/ 676 w 502"/>
              <a:gd name="T45" fmla="*/ 1809 h 649"/>
              <a:gd name="T46" fmla="*/ 587 w 502"/>
              <a:gd name="T47" fmla="*/ 1787 h 649"/>
              <a:gd name="T48" fmla="*/ 518 w 502"/>
              <a:gd name="T49" fmla="*/ 1787 h 649"/>
              <a:gd name="T50" fmla="*/ 422 w 502"/>
              <a:gd name="T51" fmla="*/ 1787 h 649"/>
              <a:gd name="T52" fmla="*/ 333 w 502"/>
              <a:gd name="T53" fmla="*/ 1809 h 649"/>
              <a:gd name="T54" fmla="*/ 217 w 502"/>
              <a:gd name="T55" fmla="*/ 1874 h 649"/>
              <a:gd name="T56" fmla="*/ 164 w 502"/>
              <a:gd name="T57" fmla="*/ 1883 h 649"/>
              <a:gd name="T58" fmla="*/ 77 w 502"/>
              <a:gd name="T59" fmla="*/ 1853 h 649"/>
              <a:gd name="T60" fmla="*/ 0 w 502"/>
              <a:gd name="T61" fmla="*/ 1796 h 649"/>
              <a:gd name="T62" fmla="*/ 0 w 502"/>
              <a:gd name="T63" fmla="*/ 777 h 649"/>
              <a:gd name="T64" fmla="*/ 1194 w 502"/>
              <a:gd name="T65" fmla="*/ 777 h 649"/>
              <a:gd name="T66" fmla="*/ 1181 w 502"/>
              <a:gd name="T67" fmla="*/ 790 h 649"/>
              <a:gd name="T68" fmla="*/ 1271 w 502"/>
              <a:gd name="T69" fmla="*/ 712 h 649"/>
              <a:gd name="T70" fmla="*/ 1299 w 502"/>
              <a:gd name="T71" fmla="*/ 635 h 649"/>
              <a:gd name="T72" fmla="*/ 1299 w 502"/>
              <a:gd name="T73" fmla="*/ 608 h 649"/>
              <a:gd name="T74" fmla="*/ 1218 w 502"/>
              <a:gd name="T75" fmla="*/ 497 h 649"/>
              <a:gd name="T76" fmla="*/ 1181 w 502"/>
              <a:gd name="T77" fmla="*/ 432 h 649"/>
              <a:gd name="T78" fmla="*/ 1181 w 502"/>
              <a:gd name="T79" fmla="*/ 358 h 649"/>
              <a:gd name="T80" fmla="*/ 1194 w 502"/>
              <a:gd name="T81" fmla="*/ 280 h 649"/>
              <a:gd name="T82" fmla="*/ 1218 w 502"/>
              <a:gd name="T83" fmla="*/ 208 h 649"/>
              <a:gd name="T84" fmla="*/ 1286 w 502"/>
              <a:gd name="T85" fmla="*/ 130 h 649"/>
              <a:gd name="T86" fmla="*/ 1375 w 502"/>
              <a:gd name="T87" fmla="*/ 56 h 649"/>
              <a:gd name="T88" fmla="*/ 1448 w 502"/>
              <a:gd name="T89" fmla="*/ 21 h 649"/>
              <a:gd name="T90" fmla="*/ 1527 w 502"/>
              <a:gd name="T91" fmla="*/ 0 h 649"/>
              <a:gd name="T92" fmla="*/ 1644 w 502"/>
              <a:gd name="T93" fmla="*/ 0 h 649"/>
              <a:gd name="T94" fmla="*/ 1764 w 502"/>
              <a:gd name="T95" fmla="*/ 0 h 649"/>
              <a:gd name="T96" fmla="*/ 1854 w 502"/>
              <a:gd name="T97" fmla="*/ 21 h 649"/>
              <a:gd name="T98" fmla="*/ 1925 w 502"/>
              <a:gd name="T99" fmla="*/ 56 h 649"/>
              <a:gd name="T100" fmla="*/ 2014 w 502"/>
              <a:gd name="T101" fmla="*/ 130 h 649"/>
              <a:gd name="T102" fmla="*/ 2067 w 502"/>
              <a:gd name="T103" fmla="*/ 208 h 649"/>
              <a:gd name="T104" fmla="*/ 2110 w 502"/>
              <a:gd name="T105" fmla="*/ 280 h 649"/>
              <a:gd name="T106" fmla="*/ 2110 w 502"/>
              <a:gd name="T107" fmla="*/ 358 h 649"/>
              <a:gd name="T108" fmla="*/ 2110 w 502"/>
              <a:gd name="T109" fmla="*/ 432 h 649"/>
              <a:gd name="T110" fmla="*/ 2067 w 502"/>
              <a:gd name="T111" fmla="*/ 497 h 649"/>
              <a:gd name="T112" fmla="*/ 2005 w 502"/>
              <a:gd name="T113" fmla="*/ 608 h 649"/>
              <a:gd name="T114" fmla="*/ 1990 w 502"/>
              <a:gd name="T115" fmla="*/ 635 h 649"/>
              <a:gd name="T116" fmla="*/ 2029 w 502"/>
              <a:gd name="T117" fmla="*/ 712 h 649"/>
              <a:gd name="T118" fmla="*/ 2110 w 502"/>
              <a:gd name="T119" fmla="*/ 790 h 649"/>
              <a:gd name="T120" fmla="*/ 2134 w 502"/>
              <a:gd name="T121" fmla="*/ 777 h 64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02"/>
              <a:gd name="T184" fmla="*/ 0 h 649"/>
              <a:gd name="T185" fmla="*/ 502 w 502"/>
              <a:gd name="T186" fmla="*/ 649 h 64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02" h="649">
                <a:moveTo>
                  <a:pt x="327" y="142"/>
                </a:moveTo>
                <a:lnTo>
                  <a:pt x="502" y="142"/>
                </a:lnTo>
                <a:lnTo>
                  <a:pt x="502" y="649"/>
                </a:lnTo>
                <a:lnTo>
                  <a:pt x="0" y="649"/>
                </a:lnTo>
                <a:lnTo>
                  <a:pt x="0" y="472"/>
                </a:lnTo>
                <a:lnTo>
                  <a:pt x="12" y="454"/>
                </a:lnTo>
                <a:lnTo>
                  <a:pt x="25" y="450"/>
                </a:lnTo>
                <a:lnTo>
                  <a:pt x="31" y="450"/>
                </a:lnTo>
                <a:lnTo>
                  <a:pt x="51" y="462"/>
                </a:lnTo>
                <a:lnTo>
                  <a:pt x="65" y="468"/>
                </a:lnTo>
                <a:lnTo>
                  <a:pt x="79" y="468"/>
                </a:lnTo>
                <a:lnTo>
                  <a:pt x="90" y="466"/>
                </a:lnTo>
                <a:lnTo>
                  <a:pt x="104" y="462"/>
                </a:lnTo>
                <a:lnTo>
                  <a:pt x="118" y="452"/>
                </a:lnTo>
                <a:lnTo>
                  <a:pt x="132" y="438"/>
                </a:lnTo>
                <a:lnTo>
                  <a:pt x="138" y="426"/>
                </a:lnTo>
                <a:lnTo>
                  <a:pt x="144" y="415"/>
                </a:lnTo>
                <a:lnTo>
                  <a:pt x="144" y="397"/>
                </a:lnTo>
                <a:lnTo>
                  <a:pt x="144" y="379"/>
                </a:lnTo>
                <a:lnTo>
                  <a:pt x="138" y="367"/>
                </a:lnTo>
                <a:lnTo>
                  <a:pt x="132" y="355"/>
                </a:lnTo>
                <a:lnTo>
                  <a:pt x="118" y="340"/>
                </a:lnTo>
                <a:lnTo>
                  <a:pt x="104" y="330"/>
                </a:lnTo>
                <a:lnTo>
                  <a:pt x="90" y="326"/>
                </a:lnTo>
                <a:lnTo>
                  <a:pt x="79" y="326"/>
                </a:lnTo>
                <a:lnTo>
                  <a:pt x="65" y="326"/>
                </a:lnTo>
                <a:lnTo>
                  <a:pt x="51" y="330"/>
                </a:lnTo>
                <a:lnTo>
                  <a:pt x="33" y="342"/>
                </a:lnTo>
                <a:lnTo>
                  <a:pt x="25" y="344"/>
                </a:lnTo>
                <a:lnTo>
                  <a:pt x="12" y="338"/>
                </a:lnTo>
                <a:lnTo>
                  <a:pt x="0" y="328"/>
                </a:lnTo>
                <a:lnTo>
                  <a:pt x="0" y="142"/>
                </a:lnTo>
                <a:lnTo>
                  <a:pt x="183" y="142"/>
                </a:lnTo>
                <a:lnTo>
                  <a:pt x="181" y="144"/>
                </a:lnTo>
                <a:lnTo>
                  <a:pt x="195" y="130"/>
                </a:lnTo>
                <a:lnTo>
                  <a:pt x="199" y="116"/>
                </a:lnTo>
                <a:lnTo>
                  <a:pt x="199" y="111"/>
                </a:lnTo>
                <a:lnTo>
                  <a:pt x="187" y="91"/>
                </a:lnTo>
                <a:lnTo>
                  <a:pt x="181" y="79"/>
                </a:lnTo>
                <a:lnTo>
                  <a:pt x="181" y="65"/>
                </a:lnTo>
                <a:lnTo>
                  <a:pt x="183" y="51"/>
                </a:lnTo>
                <a:lnTo>
                  <a:pt x="187" y="38"/>
                </a:lnTo>
                <a:lnTo>
                  <a:pt x="197" y="24"/>
                </a:lnTo>
                <a:lnTo>
                  <a:pt x="211" y="10"/>
                </a:lnTo>
                <a:lnTo>
                  <a:pt x="222" y="4"/>
                </a:lnTo>
                <a:lnTo>
                  <a:pt x="234" y="0"/>
                </a:lnTo>
                <a:lnTo>
                  <a:pt x="252" y="0"/>
                </a:lnTo>
                <a:lnTo>
                  <a:pt x="270" y="0"/>
                </a:lnTo>
                <a:lnTo>
                  <a:pt x="284" y="4"/>
                </a:lnTo>
                <a:lnTo>
                  <a:pt x="295" y="10"/>
                </a:lnTo>
                <a:lnTo>
                  <a:pt x="309" y="24"/>
                </a:lnTo>
                <a:lnTo>
                  <a:pt x="317" y="38"/>
                </a:lnTo>
                <a:lnTo>
                  <a:pt x="323" y="51"/>
                </a:lnTo>
                <a:lnTo>
                  <a:pt x="323" y="65"/>
                </a:lnTo>
                <a:lnTo>
                  <a:pt x="323" y="79"/>
                </a:lnTo>
                <a:lnTo>
                  <a:pt x="317" y="91"/>
                </a:lnTo>
                <a:lnTo>
                  <a:pt x="307" y="111"/>
                </a:lnTo>
                <a:lnTo>
                  <a:pt x="305" y="116"/>
                </a:lnTo>
                <a:lnTo>
                  <a:pt x="311" y="130"/>
                </a:lnTo>
                <a:lnTo>
                  <a:pt x="323" y="144"/>
                </a:lnTo>
                <a:lnTo>
                  <a:pt x="327" y="142"/>
                </a:lnTo>
                <a:close/>
              </a:path>
            </a:pathLst>
          </a:custGeom>
          <a:solidFill>
            <a:srgbClr val="E0301E"/>
          </a:solidFill>
          <a:ln w="19050" cap="flat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lIns="69056" tIns="34529" rIns="69056" bIns="34529" anchor="ctr"/>
          <a:lstStyle/>
          <a:p>
            <a:pPr defTabSz="685783">
              <a:buClrTx/>
              <a:defRPr/>
            </a:pPr>
            <a:endParaRPr lang="en-GB" sz="1350" kern="1200">
              <a:solidFill>
                <a:sysClr val="windowText" lastClr="000000"/>
              </a:solidFill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A5CE71C-38FD-4D67-B4C5-9CD045694681}"/>
              </a:ext>
            </a:extLst>
          </p:cNvPr>
          <p:cNvGrpSpPr/>
          <p:nvPr/>
        </p:nvGrpSpPr>
        <p:grpSpPr>
          <a:xfrm>
            <a:off x="6462301" y="3329085"/>
            <a:ext cx="2508498" cy="1530175"/>
            <a:chOff x="356367" y="2428707"/>
            <a:chExt cx="3344664" cy="2040232"/>
          </a:xfrm>
        </p:grpSpPr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FE0742A0-E2BB-4B3A-99AA-A6CD160CD7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1829" y="2428707"/>
              <a:ext cx="327135" cy="439455"/>
            </a:xfrm>
            <a:custGeom>
              <a:avLst/>
              <a:gdLst>
                <a:gd name="T0" fmla="*/ 125 w 233"/>
                <a:gd name="T1" fmla="*/ 41 h 313"/>
                <a:gd name="T2" fmla="*/ 125 w 233"/>
                <a:gd name="T3" fmla="*/ 43 h 313"/>
                <a:gd name="T4" fmla="*/ 127 w 233"/>
                <a:gd name="T5" fmla="*/ 43 h 313"/>
                <a:gd name="T6" fmla="*/ 125 w 233"/>
                <a:gd name="T7" fmla="*/ 43 h 313"/>
                <a:gd name="T8" fmla="*/ 125 w 233"/>
                <a:gd name="T9" fmla="*/ 41 h 313"/>
                <a:gd name="T10" fmla="*/ 196 w 233"/>
                <a:gd name="T11" fmla="*/ 240 h 313"/>
                <a:gd name="T12" fmla="*/ 178 w 233"/>
                <a:gd name="T13" fmla="*/ 199 h 313"/>
                <a:gd name="T14" fmla="*/ 162 w 233"/>
                <a:gd name="T15" fmla="*/ 152 h 313"/>
                <a:gd name="T16" fmla="*/ 161 w 233"/>
                <a:gd name="T17" fmla="*/ 140 h 313"/>
                <a:gd name="T18" fmla="*/ 165 w 233"/>
                <a:gd name="T19" fmla="*/ 91 h 313"/>
                <a:gd name="T20" fmla="*/ 178 w 233"/>
                <a:gd name="T21" fmla="*/ 37 h 313"/>
                <a:gd name="T22" fmla="*/ 181 w 233"/>
                <a:gd name="T23" fmla="*/ 20 h 313"/>
                <a:gd name="T24" fmla="*/ 184 w 233"/>
                <a:gd name="T25" fmla="*/ 6 h 313"/>
                <a:gd name="T26" fmla="*/ 178 w 233"/>
                <a:gd name="T27" fmla="*/ 0 h 313"/>
                <a:gd name="T28" fmla="*/ 170 w 233"/>
                <a:gd name="T29" fmla="*/ 15 h 313"/>
                <a:gd name="T30" fmla="*/ 150 w 233"/>
                <a:gd name="T31" fmla="*/ 40 h 313"/>
                <a:gd name="T32" fmla="*/ 142 w 233"/>
                <a:gd name="T33" fmla="*/ 44 h 313"/>
                <a:gd name="T34" fmla="*/ 127 w 233"/>
                <a:gd name="T35" fmla="*/ 43 h 313"/>
                <a:gd name="T36" fmla="*/ 128 w 233"/>
                <a:gd name="T37" fmla="*/ 47 h 313"/>
                <a:gd name="T38" fmla="*/ 130 w 233"/>
                <a:gd name="T39" fmla="*/ 75 h 313"/>
                <a:gd name="T40" fmla="*/ 130 w 233"/>
                <a:gd name="T41" fmla="*/ 112 h 313"/>
                <a:gd name="T42" fmla="*/ 130 w 233"/>
                <a:gd name="T43" fmla="*/ 143 h 313"/>
                <a:gd name="T44" fmla="*/ 139 w 233"/>
                <a:gd name="T45" fmla="*/ 67 h 313"/>
                <a:gd name="T46" fmla="*/ 136 w 233"/>
                <a:gd name="T47" fmla="*/ 63 h 313"/>
                <a:gd name="T48" fmla="*/ 139 w 233"/>
                <a:gd name="T49" fmla="*/ 52 h 313"/>
                <a:gd name="T50" fmla="*/ 144 w 233"/>
                <a:gd name="T51" fmla="*/ 51 h 313"/>
                <a:gd name="T52" fmla="*/ 147 w 233"/>
                <a:gd name="T53" fmla="*/ 51 h 313"/>
                <a:gd name="T54" fmla="*/ 151 w 233"/>
                <a:gd name="T55" fmla="*/ 57 h 313"/>
                <a:gd name="T56" fmla="*/ 148 w 233"/>
                <a:gd name="T57" fmla="*/ 67 h 313"/>
                <a:gd name="T58" fmla="*/ 151 w 233"/>
                <a:gd name="T59" fmla="*/ 106 h 313"/>
                <a:gd name="T60" fmla="*/ 151 w 233"/>
                <a:gd name="T61" fmla="*/ 168 h 313"/>
                <a:gd name="T62" fmla="*/ 151 w 233"/>
                <a:gd name="T63" fmla="*/ 195 h 313"/>
                <a:gd name="T64" fmla="*/ 158 w 233"/>
                <a:gd name="T65" fmla="*/ 266 h 313"/>
                <a:gd name="T66" fmla="*/ 128 w 233"/>
                <a:gd name="T67" fmla="*/ 262 h 313"/>
                <a:gd name="T68" fmla="*/ 130 w 233"/>
                <a:gd name="T69" fmla="*/ 280 h 313"/>
                <a:gd name="T70" fmla="*/ 131 w 233"/>
                <a:gd name="T71" fmla="*/ 305 h 313"/>
                <a:gd name="T72" fmla="*/ 134 w 233"/>
                <a:gd name="T73" fmla="*/ 310 h 313"/>
                <a:gd name="T74" fmla="*/ 145 w 233"/>
                <a:gd name="T75" fmla="*/ 313 h 313"/>
                <a:gd name="T76" fmla="*/ 151 w 233"/>
                <a:gd name="T77" fmla="*/ 313 h 313"/>
                <a:gd name="T78" fmla="*/ 181 w 233"/>
                <a:gd name="T79" fmla="*/ 306 h 313"/>
                <a:gd name="T80" fmla="*/ 196 w 233"/>
                <a:gd name="T81" fmla="*/ 305 h 313"/>
                <a:gd name="T82" fmla="*/ 233 w 233"/>
                <a:gd name="T83" fmla="*/ 306 h 313"/>
                <a:gd name="T84" fmla="*/ 219 w 233"/>
                <a:gd name="T85" fmla="*/ 282 h 313"/>
                <a:gd name="T86" fmla="*/ 196 w 233"/>
                <a:gd name="T87" fmla="*/ 240 h 313"/>
                <a:gd name="T88" fmla="*/ 0 w 233"/>
                <a:gd name="T89" fmla="*/ 222 h 313"/>
                <a:gd name="T90" fmla="*/ 11 w 233"/>
                <a:gd name="T91" fmla="*/ 242 h 313"/>
                <a:gd name="T92" fmla="*/ 11 w 233"/>
                <a:gd name="T93" fmla="*/ 252 h 313"/>
                <a:gd name="T94" fmla="*/ 7 w 233"/>
                <a:gd name="T95" fmla="*/ 260 h 313"/>
                <a:gd name="T96" fmla="*/ 8 w 233"/>
                <a:gd name="T97" fmla="*/ 260 h 313"/>
                <a:gd name="T98" fmla="*/ 16 w 233"/>
                <a:gd name="T99" fmla="*/ 262 h 313"/>
                <a:gd name="T100" fmla="*/ 19 w 233"/>
                <a:gd name="T101" fmla="*/ 257 h 313"/>
                <a:gd name="T102" fmla="*/ 22 w 233"/>
                <a:gd name="T103" fmla="*/ 251 h 313"/>
                <a:gd name="T104" fmla="*/ 20 w 233"/>
                <a:gd name="T105" fmla="*/ 237 h 313"/>
                <a:gd name="T106" fmla="*/ 16 w 233"/>
                <a:gd name="T107" fmla="*/ 226 h 313"/>
                <a:gd name="T108" fmla="*/ 10 w 233"/>
                <a:gd name="T109" fmla="*/ 220 h 313"/>
                <a:gd name="T110" fmla="*/ 0 w 233"/>
                <a:gd name="T111" fmla="*/ 22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3" h="313">
                  <a:moveTo>
                    <a:pt x="125" y="41"/>
                  </a:moveTo>
                  <a:lnTo>
                    <a:pt x="125" y="41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5" y="43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5" y="41"/>
                  </a:lnTo>
                  <a:close/>
                  <a:moveTo>
                    <a:pt x="196" y="240"/>
                  </a:moveTo>
                  <a:lnTo>
                    <a:pt x="196" y="240"/>
                  </a:lnTo>
                  <a:lnTo>
                    <a:pt x="187" y="220"/>
                  </a:lnTo>
                  <a:lnTo>
                    <a:pt x="178" y="199"/>
                  </a:lnTo>
                  <a:lnTo>
                    <a:pt x="168" y="177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1" y="140"/>
                  </a:lnTo>
                  <a:lnTo>
                    <a:pt x="162" y="125"/>
                  </a:lnTo>
                  <a:lnTo>
                    <a:pt x="165" y="91"/>
                  </a:lnTo>
                  <a:lnTo>
                    <a:pt x="171" y="60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1" y="20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5" y="7"/>
                  </a:lnTo>
                  <a:lnTo>
                    <a:pt x="170" y="15"/>
                  </a:lnTo>
                  <a:lnTo>
                    <a:pt x="159" y="29"/>
                  </a:lnTo>
                  <a:lnTo>
                    <a:pt x="150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3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8" y="47"/>
                  </a:lnTo>
                  <a:lnTo>
                    <a:pt x="130" y="5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0" y="112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6" y="9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6" y="63"/>
                  </a:lnTo>
                  <a:lnTo>
                    <a:pt x="138" y="57"/>
                  </a:lnTo>
                  <a:lnTo>
                    <a:pt x="139" y="52"/>
                  </a:lnTo>
                  <a:lnTo>
                    <a:pt x="142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7" y="51"/>
                  </a:lnTo>
                  <a:lnTo>
                    <a:pt x="148" y="52"/>
                  </a:lnTo>
                  <a:lnTo>
                    <a:pt x="151" y="57"/>
                  </a:lnTo>
                  <a:lnTo>
                    <a:pt x="155" y="6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51" y="106"/>
                  </a:lnTo>
                  <a:lnTo>
                    <a:pt x="153" y="140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95"/>
                  </a:lnTo>
                  <a:lnTo>
                    <a:pt x="155" y="228"/>
                  </a:lnTo>
                  <a:lnTo>
                    <a:pt x="158" y="266"/>
                  </a:lnTo>
                  <a:lnTo>
                    <a:pt x="142" y="276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0" y="280"/>
                  </a:lnTo>
                  <a:lnTo>
                    <a:pt x="131" y="305"/>
                  </a:lnTo>
                  <a:lnTo>
                    <a:pt x="131" y="305"/>
                  </a:lnTo>
                  <a:lnTo>
                    <a:pt x="131" y="310"/>
                  </a:lnTo>
                  <a:lnTo>
                    <a:pt x="134" y="310"/>
                  </a:lnTo>
                  <a:lnTo>
                    <a:pt x="139" y="311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51" y="313"/>
                  </a:lnTo>
                  <a:lnTo>
                    <a:pt x="159" y="313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96" y="305"/>
                  </a:lnTo>
                  <a:lnTo>
                    <a:pt x="213" y="305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19" y="282"/>
                  </a:lnTo>
                  <a:lnTo>
                    <a:pt x="196" y="240"/>
                  </a:lnTo>
                  <a:lnTo>
                    <a:pt x="196" y="240"/>
                  </a:lnTo>
                  <a:close/>
                  <a:moveTo>
                    <a:pt x="0" y="222"/>
                  </a:moveTo>
                  <a:lnTo>
                    <a:pt x="0" y="222"/>
                  </a:lnTo>
                  <a:lnTo>
                    <a:pt x="7" y="231"/>
                  </a:lnTo>
                  <a:lnTo>
                    <a:pt x="11" y="242"/>
                  </a:lnTo>
                  <a:lnTo>
                    <a:pt x="11" y="246"/>
                  </a:lnTo>
                  <a:lnTo>
                    <a:pt x="11" y="252"/>
                  </a:lnTo>
                  <a:lnTo>
                    <a:pt x="10" y="256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8" y="260"/>
                  </a:lnTo>
                  <a:lnTo>
                    <a:pt x="11" y="262"/>
                  </a:lnTo>
                  <a:lnTo>
                    <a:pt x="16" y="262"/>
                  </a:lnTo>
                  <a:lnTo>
                    <a:pt x="17" y="260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22" y="251"/>
                  </a:lnTo>
                  <a:lnTo>
                    <a:pt x="22" y="242"/>
                  </a:lnTo>
                  <a:lnTo>
                    <a:pt x="20" y="237"/>
                  </a:lnTo>
                  <a:lnTo>
                    <a:pt x="19" y="231"/>
                  </a:lnTo>
                  <a:lnTo>
                    <a:pt x="16" y="226"/>
                  </a:lnTo>
                  <a:lnTo>
                    <a:pt x="10" y="220"/>
                  </a:lnTo>
                  <a:lnTo>
                    <a:pt x="10" y="220"/>
                  </a:lnTo>
                  <a:lnTo>
                    <a:pt x="0" y="222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96" name="Freeform 151">
              <a:extLst>
                <a:ext uri="{FF2B5EF4-FFF2-40B4-BE49-F238E27FC236}">
                  <a16:creationId xmlns:a16="http://schemas.microsoft.com/office/drawing/2014/main" id="{9084F16C-CC90-458B-9D45-59B89518F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440" y="2487616"/>
              <a:ext cx="198426" cy="180288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79FCD5B1-36E8-4D4B-BB02-DD763BF7066A}"/>
                </a:ext>
              </a:extLst>
            </p:cNvPr>
            <p:cNvSpPr/>
            <p:nvPr/>
          </p:nvSpPr>
          <p:spPr>
            <a:xfrm>
              <a:off x="682751" y="3217970"/>
              <a:ext cx="2593849" cy="1066303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01022E2-CA7E-4C36-9FED-B72D8F05360B}"/>
                </a:ext>
              </a:extLst>
            </p:cNvPr>
            <p:cNvSpPr txBox="1"/>
            <p:nvPr/>
          </p:nvSpPr>
          <p:spPr>
            <a:xfrm>
              <a:off x="1121654" y="3144584"/>
              <a:ext cx="1771479" cy="4924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783">
                <a:buClrTx/>
                <a:defRPr/>
              </a:pPr>
              <a:r>
                <a:rPr lang="en-GB" sz="2400" b="1" i="1" kern="1200">
                  <a:latin typeface="Georgia" pitchFamily="18" charset="0"/>
                  <a:ea typeface="+mn-ea"/>
                  <a:cs typeface="Arial" pitchFamily="34" charset="0"/>
                </a:rPr>
                <a:t>6 </a:t>
              </a:r>
              <a:r>
                <a:rPr lang="en-GB" sz="1200" b="1" i="1" kern="1200">
                  <a:latin typeface="Georgia" pitchFamily="18" charset="0"/>
                  <a:ea typeface="+mn-ea"/>
                  <a:cs typeface="Arial" pitchFamily="34" charset="0"/>
                </a:rPr>
                <a:t>The Chain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F265D167-2E95-4750-9C66-1FA2EA1138FB}"/>
                </a:ext>
              </a:extLst>
            </p:cNvPr>
            <p:cNvSpPr txBox="1"/>
            <p:nvPr/>
          </p:nvSpPr>
          <p:spPr>
            <a:xfrm>
              <a:off x="356367" y="3607165"/>
              <a:ext cx="3344664" cy="8617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just" defTabSz="685783">
                <a:buClrTx/>
                <a:defRPr/>
              </a:pPr>
              <a:r>
                <a:rPr lang="en-GB" sz="1050" kern="1200">
                  <a:latin typeface="Georgia" pitchFamily="18" charset="0"/>
                  <a:ea typeface="+mn-ea"/>
                  <a:cs typeface="Arial" pitchFamily="34" charset="0"/>
                </a:rPr>
                <a:t>After Block validation, proposed block is broadcasted to each and every node in the system and the block is added to the chain.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A96C742-BF49-44E2-889D-C4106D41A4D9}"/>
              </a:ext>
            </a:extLst>
          </p:cNvPr>
          <p:cNvGrpSpPr/>
          <p:nvPr/>
        </p:nvGrpSpPr>
        <p:grpSpPr>
          <a:xfrm>
            <a:off x="6756647" y="3182318"/>
            <a:ext cx="1769790" cy="704535"/>
            <a:chOff x="6786120" y="4618689"/>
            <a:chExt cx="2359720" cy="939380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9C4631C-5336-41A7-B87F-34A51503AD10}"/>
                </a:ext>
              </a:extLst>
            </p:cNvPr>
            <p:cNvCxnSpPr/>
            <p:nvPr/>
          </p:nvCxnSpPr>
          <p:spPr>
            <a:xfrm>
              <a:off x="7258158" y="4814376"/>
              <a:ext cx="451840" cy="210936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02" name="Freeform 5014">
              <a:extLst>
                <a:ext uri="{FF2B5EF4-FFF2-40B4-BE49-F238E27FC236}">
                  <a16:creationId xmlns:a16="http://schemas.microsoft.com/office/drawing/2014/main" id="{91CFFD87-EC17-4460-84B6-B14293AD4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6120" y="4760725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03" name="Freeform 5014">
              <a:extLst>
                <a:ext uri="{FF2B5EF4-FFF2-40B4-BE49-F238E27FC236}">
                  <a16:creationId xmlns:a16="http://schemas.microsoft.com/office/drawing/2014/main" id="{8D84D26F-F683-4E2E-8779-6D6B80BDC4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9459" y="4618689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04" name="Freeform 5014">
              <a:extLst>
                <a:ext uri="{FF2B5EF4-FFF2-40B4-BE49-F238E27FC236}">
                  <a16:creationId xmlns:a16="http://schemas.microsoft.com/office/drawing/2014/main" id="{F9756992-00AC-4340-9615-4054B64E7C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5159" y="5223203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05" name="Freeform 5014">
              <a:extLst>
                <a:ext uri="{FF2B5EF4-FFF2-40B4-BE49-F238E27FC236}">
                  <a16:creationId xmlns:a16="http://schemas.microsoft.com/office/drawing/2014/main" id="{712F6503-7053-4768-AE24-E50299B2E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2200" y="5185637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sp>
          <p:nvSpPr>
            <p:cNvPr id="106" name="Freeform 5014">
              <a:extLst>
                <a:ext uri="{FF2B5EF4-FFF2-40B4-BE49-F238E27FC236}">
                  <a16:creationId xmlns:a16="http://schemas.microsoft.com/office/drawing/2014/main" id="{CC2205A7-71F9-4A35-A15D-2766D3978E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2810" y="4955076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buClrTx/>
                <a:defRPr/>
              </a:pPr>
              <a:endParaRPr lang="en-GB" sz="1350" kern="1200">
                <a:ea typeface="+mn-ea"/>
                <a:cs typeface="+mn-cs"/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7FDBF6D6-E4F7-4C87-939A-4DF417BE48D4}"/>
                </a:ext>
              </a:extLst>
            </p:cNvPr>
            <p:cNvCxnSpPr/>
            <p:nvPr/>
          </p:nvCxnSpPr>
          <p:spPr>
            <a:xfrm>
              <a:off x="8220380" y="5189960"/>
              <a:ext cx="451840" cy="210936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12AF067B-BBE2-4E48-B528-BA80F2C92FFF}"/>
                </a:ext>
              </a:extLst>
            </p:cNvPr>
            <p:cNvCxnSpPr/>
            <p:nvPr/>
          </p:nvCxnSpPr>
          <p:spPr>
            <a:xfrm flipV="1">
              <a:off x="7384848" y="5192523"/>
              <a:ext cx="325150" cy="270805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D930595-2279-4686-9655-B962052CAB7B}"/>
                </a:ext>
              </a:extLst>
            </p:cNvPr>
            <p:cNvCxnSpPr/>
            <p:nvPr/>
          </p:nvCxnSpPr>
          <p:spPr>
            <a:xfrm flipV="1">
              <a:off x="8216517" y="4754507"/>
              <a:ext cx="325150" cy="270805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53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Types of Blockchain</a:t>
            </a:r>
            <a:endParaRPr sz="2200" dirty="0"/>
          </a:p>
        </p:txBody>
      </p:sp>
      <p:sp>
        <p:nvSpPr>
          <p:cNvPr id="433" name="Google Shape;433;p53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grpSp>
        <p:nvGrpSpPr>
          <p:cNvPr id="434" name="Google Shape;434;p53"/>
          <p:cNvGrpSpPr/>
          <p:nvPr/>
        </p:nvGrpSpPr>
        <p:grpSpPr>
          <a:xfrm>
            <a:off x="332185" y="975829"/>
            <a:ext cx="8479631" cy="3665156"/>
            <a:chOff x="625752" y="1751517"/>
            <a:chExt cx="12463284" cy="5175760"/>
          </a:xfrm>
        </p:grpSpPr>
        <p:grpSp>
          <p:nvGrpSpPr>
            <p:cNvPr id="435" name="Google Shape;435;p53"/>
            <p:cNvGrpSpPr/>
            <p:nvPr/>
          </p:nvGrpSpPr>
          <p:grpSpPr>
            <a:xfrm>
              <a:off x="5128873" y="2372860"/>
              <a:ext cx="7960163" cy="4554417"/>
              <a:chOff x="4140467" y="2279883"/>
              <a:chExt cx="7960163" cy="4554417"/>
            </a:xfrm>
          </p:grpSpPr>
          <p:sp>
            <p:nvSpPr>
              <p:cNvPr id="436" name="Google Shape;436;p53"/>
              <p:cNvSpPr/>
              <p:nvPr/>
            </p:nvSpPr>
            <p:spPr>
              <a:xfrm>
                <a:off x="9313821" y="6003016"/>
                <a:ext cx="2786808" cy="83128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100"/>
                  <a:buFont typeface="Arial"/>
                  <a:buNone/>
                </a:pPr>
                <a:r>
                  <a:rPr lang="en" sz="1100" b="1" i="0" u="none" strike="noStrike" cap="none">
                    <a:solidFill>
                      <a:srgbClr val="FFFFFF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Unpermissioned, public shared ledger</a:t>
                </a:r>
                <a:endParaRPr sz="11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437" name="Google Shape;437;p53"/>
              <p:cNvGrpSpPr/>
              <p:nvPr/>
            </p:nvGrpSpPr>
            <p:grpSpPr>
              <a:xfrm>
                <a:off x="4140467" y="2279883"/>
                <a:ext cx="7960163" cy="4515601"/>
                <a:chOff x="4140467" y="2279883"/>
                <a:chExt cx="7960163" cy="4515601"/>
              </a:xfrm>
            </p:grpSpPr>
            <p:sp>
              <p:nvSpPr>
                <p:cNvPr id="438" name="Google Shape;438;p53"/>
                <p:cNvSpPr/>
                <p:nvPr/>
              </p:nvSpPr>
              <p:spPr>
                <a:xfrm>
                  <a:off x="9246736" y="2338499"/>
                  <a:ext cx="2853894" cy="847739"/>
                </a:xfrm>
                <a:prstGeom prst="rect">
                  <a:avLst/>
                </a:prstGeom>
                <a:solidFill>
                  <a:srgbClr val="7F7F7F"/>
                </a:solidFill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1100"/>
                    <a:buFont typeface="Arial"/>
                    <a:buNone/>
                  </a:pPr>
                  <a:r>
                    <a:rPr lang="en" sz="1100" b="1" i="0" u="none" strike="noStrike" cap="none">
                      <a:solidFill>
                        <a:srgbClr val="FFFFFF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Traditional Ledger(Example-A personal bank account)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39" name="Google Shape;439;p53"/>
                <p:cNvSpPr/>
                <p:nvPr/>
              </p:nvSpPr>
              <p:spPr>
                <a:xfrm>
                  <a:off x="9313820" y="3623268"/>
                  <a:ext cx="2786810" cy="1011616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1100"/>
                    <a:buFont typeface="Arial"/>
                    <a:buNone/>
                  </a:pPr>
                  <a:r>
                    <a:rPr lang="en" sz="1100" b="1" i="0" u="none" strike="noStrike" cap="none">
                      <a:solidFill>
                        <a:srgbClr val="FFFFFF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Permissioned, private shared ledger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40" name="Google Shape;440;p53"/>
                <p:cNvSpPr/>
                <p:nvPr/>
              </p:nvSpPr>
              <p:spPr>
                <a:xfrm>
                  <a:off x="9313820" y="4976050"/>
                  <a:ext cx="2786809" cy="685800"/>
                </a:xfrm>
                <a:prstGeom prst="rect">
                  <a:avLst/>
                </a:prstGeom>
                <a:solidFill>
                  <a:srgbClr val="7F7F7F"/>
                </a:solidFill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FFFFFF"/>
                    </a:buClr>
                    <a:buSzPts val="1100"/>
                    <a:buFont typeface="Arial"/>
                    <a:buNone/>
                  </a:pPr>
                  <a:r>
                    <a:rPr lang="en" sz="1100" b="1" i="0" u="none" strike="noStrike" cap="none">
                      <a:solidFill>
                        <a:srgbClr val="FFFFFF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Permissioned, public shared ledger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cxnSp>
              <p:nvCxnSpPr>
                <p:cNvPr id="441" name="Google Shape;441;p53"/>
                <p:cNvCxnSpPr/>
                <p:nvPr/>
              </p:nvCxnSpPr>
              <p:spPr>
                <a:xfrm>
                  <a:off x="8475768" y="2657720"/>
                  <a:ext cx="731520" cy="0"/>
                </a:xfrm>
                <a:prstGeom prst="straightConnector1">
                  <a:avLst/>
                </a:prstGeom>
                <a:noFill/>
                <a:ln w="38100" cap="flat" cmpd="sng">
                  <a:solidFill>
                    <a:srgbClr val="D62E1C"/>
                  </a:solidFill>
                  <a:prstDash val="solid"/>
                  <a:round/>
                  <a:headEnd type="none" w="sm" len="sm"/>
                  <a:tailEnd type="triangle" w="med" len="med"/>
                </a:ln>
              </p:spPr>
            </p:cxnSp>
            <p:cxnSp>
              <p:nvCxnSpPr>
                <p:cNvPr id="442" name="Google Shape;442;p53"/>
                <p:cNvCxnSpPr/>
                <p:nvPr/>
              </p:nvCxnSpPr>
              <p:spPr>
                <a:xfrm>
                  <a:off x="8514503" y="4119621"/>
                  <a:ext cx="731520" cy="0"/>
                </a:xfrm>
                <a:prstGeom prst="straightConnector1">
                  <a:avLst/>
                </a:prstGeom>
                <a:noFill/>
                <a:ln w="38100" cap="flat" cmpd="sng">
                  <a:solidFill>
                    <a:srgbClr val="D62E1C"/>
                  </a:solidFill>
                  <a:prstDash val="solid"/>
                  <a:round/>
                  <a:headEnd type="none" w="sm" len="sm"/>
                  <a:tailEnd type="triangle" w="med" len="med"/>
                </a:ln>
              </p:spPr>
            </p:cxnSp>
            <p:cxnSp>
              <p:nvCxnSpPr>
                <p:cNvPr id="443" name="Google Shape;443;p53"/>
                <p:cNvCxnSpPr/>
                <p:nvPr/>
              </p:nvCxnSpPr>
              <p:spPr>
                <a:xfrm>
                  <a:off x="8582300" y="5343195"/>
                  <a:ext cx="731520" cy="0"/>
                </a:xfrm>
                <a:prstGeom prst="straightConnector1">
                  <a:avLst/>
                </a:prstGeom>
                <a:noFill/>
                <a:ln w="38100" cap="flat" cmpd="sng">
                  <a:solidFill>
                    <a:srgbClr val="D62E1C"/>
                  </a:solidFill>
                  <a:prstDash val="solid"/>
                  <a:round/>
                  <a:headEnd type="none" w="sm" len="sm"/>
                  <a:tailEnd type="triangle" w="med" len="med"/>
                </a:ln>
              </p:spPr>
            </p:cxnSp>
            <p:cxnSp>
              <p:nvCxnSpPr>
                <p:cNvPr id="444" name="Google Shape;444;p53"/>
                <p:cNvCxnSpPr/>
                <p:nvPr/>
              </p:nvCxnSpPr>
              <p:spPr>
                <a:xfrm>
                  <a:off x="8582300" y="6427255"/>
                  <a:ext cx="731520" cy="0"/>
                </a:xfrm>
                <a:prstGeom prst="straightConnector1">
                  <a:avLst/>
                </a:prstGeom>
                <a:noFill/>
                <a:ln w="38100" cap="flat" cmpd="sng">
                  <a:solidFill>
                    <a:srgbClr val="D62E1C"/>
                  </a:solidFill>
                  <a:prstDash val="solid"/>
                  <a:round/>
                  <a:headEnd type="none" w="sm" len="sm"/>
                  <a:tailEnd type="triangle" w="med" len="med"/>
                </a:ln>
              </p:spPr>
            </p:cxnSp>
            <p:grpSp>
              <p:nvGrpSpPr>
                <p:cNvPr id="445" name="Google Shape;445;p53"/>
                <p:cNvGrpSpPr/>
                <p:nvPr/>
              </p:nvGrpSpPr>
              <p:grpSpPr>
                <a:xfrm>
                  <a:off x="4140467" y="2279883"/>
                  <a:ext cx="3351232" cy="4240564"/>
                  <a:chOff x="3775711" y="2251695"/>
                  <a:chExt cx="3351232" cy="4240564"/>
                </a:xfrm>
              </p:grpSpPr>
              <p:sp>
                <p:nvSpPr>
                  <p:cNvPr id="446" name="Google Shape;446;p53"/>
                  <p:cNvSpPr/>
                  <p:nvPr/>
                </p:nvSpPr>
                <p:spPr>
                  <a:xfrm>
                    <a:off x="3775711" y="2251695"/>
                    <a:ext cx="2365249" cy="749691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Pts val="1100"/>
                      <a:buFont typeface="Arial"/>
                      <a:buNone/>
                    </a:pPr>
                    <a:r>
                      <a:rPr lang="en" sz="1100" b="1" i="0" u="none" strike="noStrike" cap="none">
                        <a:solidFill>
                          <a:srgbClr val="FFFFFF"/>
                        </a:solidFill>
                        <a:latin typeface="Georgia"/>
                        <a:ea typeface="Georgia"/>
                        <a:cs typeface="Georgia"/>
                        <a:sym typeface="Georgia"/>
                      </a:rPr>
                      <a:t>How many copies of the ledger?</a:t>
                    </a:r>
                    <a:endParaRPr sz="11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447" name="Google Shape;447;p53"/>
                  <p:cNvSpPr/>
                  <p:nvPr/>
                </p:nvSpPr>
                <p:spPr>
                  <a:xfrm>
                    <a:off x="3833717" y="3885168"/>
                    <a:ext cx="2365249" cy="685800"/>
                  </a:xfrm>
                  <a:prstGeom prst="rect">
                    <a:avLst/>
                  </a:prstGeom>
                  <a:solidFill>
                    <a:srgbClr val="7F7F7F"/>
                  </a:solidFill>
                  <a:ln>
                    <a:noFill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Pts val="1100"/>
                      <a:buFont typeface="Arial"/>
                      <a:buNone/>
                    </a:pPr>
                    <a:r>
                      <a:rPr lang="en" sz="1100" b="1" i="0" u="none" strike="noStrike" cap="none">
                        <a:solidFill>
                          <a:srgbClr val="FFFFFF"/>
                        </a:solidFill>
                        <a:latin typeface="Georgia"/>
                        <a:ea typeface="Georgia"/>
                        <a:cs typeface="Georgia"/>
                        <a:sym typeface="Georgia"/>
                      </a:rPr>
                      <a:t>Who can use these copies?</a:t>
                    </a:r>
                    <a:endParaRPr sz="11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448" name="Google Shape;448;p53"/>
                  <p:cNvSpPr/>
                  <p:nvPr/>
                </p:nvSpPr>
                <p:spPr>
                  <a:xfrm>
                    <a:off x="3785687" y="5532559"/>
                    <a:ext cx="2365249" cy="68580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FFFFFF"/>
                      </a:buClr>
                      <a:buSzPts val="1100"/>
                      <a:buFont typeface="Arial"/>
                      <a:buNone/>
                    </a:pPr>
                    <a:r>
                      <a:rPr lang="en" sz="1100" b="1" i="0" u="none" strike="noStrike" cap="none">
                        <a:solidFill>
                          <a:srgbClr val="FFFFFF"/>
                        </a:solidFill>
                        <a:latin typeface="Georgia"/>
                        <a:ea typeface="Georgia"/>
                        <a:cs typeface="Georgia"/>
                        <a:sym typeface="Georgia"/>
                      </a:rPr>
                      <a:t>Who maintains integrity of the ledger? </a:t>
                    </a:r>
                    <a:endParaRPr sz="11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cxnSp>
                <p:nvCxnSpPr>
                  <p:cNvPr id="449" name="Google Shape;449;p53"/>
                  <p:cNvCxnSpPr/>
                  <p:nvPr/>
                </p:nvCxnSpPr>
                <p:spPr>
                  <a:xfrm>
                    <a:off x="6214345" y="2643300"/>
                    <a:ext cx="822960" cy="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0" name="Google Shape;450;p53"/>
                  <p:cNvCxnSpPr/>
                  <p:nvPr/>
                </p:nvCxnSpPr>
                <p:spPr>
                  <a:xfrm>
                    <a:off x="6303983" y="4156483"/>
                    <a:ext cx="822960" cy="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1" name="Google Shape;451;p53"/>
                  <p:cNvCxnSpPr/>
                  <p:nvPr/>
                </p:nvCxnSpPr>
                <p:spPr>
                  <a:xfrm flipH="1">
                    <a:off x="4953333" y="2952375"/>
                    <a:ext cx="3" cy="30480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2" name="Google Shape;452;p53"/>
                  <p:cNvCxnSpPr/>
                  <p:nvPr/>
                </p:nvCxnSpPr>
                <p:spPr>
                  <a:xfrm flipH="1">
                    <a:off x="4944475" y="4589448"/>
                    <a:ext cx="3" cy="30480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3" name="Google Shape;453;p53"/>
                  <p:cNvCxnSpPr/>
                  <p:nvPr/>
                </p:nvCxnSpPr>
                <p:spPr>
                  <a:xfrm flipH="1">
                    <a:off x="4953339" y="5196000"/>
                    <a:ext cx="3" cy="30480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4" name="Google Shape;454;p53"/>
                  <p:cNvCxnSpPr/>
                  <p:nvPr/>
                </p:nvCxnSpPr>
                <p:spPr>
                  <a:xfrm flipH="1">
                    <a:off x="4953336" y="3533636"/>
                    <a:ext cx="3" cy="304800"/>
                  </a:xfrm>
                  <a:prstGeom prst="straightConnector1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sp>
                <p:nvSpPr>
                  <p:cNvPr id="455" name="Google Shape;455;p53"/>
                  <p:cNvSpPr/>
                  <p:nvPr/>
                </p:nvSpPr>
                <p:spPr>
                  <a:xfrm>
                    <a:off x="4464560" y="3349074"/>
                    <a:ext cx="1066800" cy="13783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595959"/>
                      </a:buClr>
                      <a:buSzPts val="1100"/>
                      <a:buFont typeface="Arial"/>
                      <a:buNone/>
                    </a:pPr>
                    <a:r>
                      <a:rPr lang="en" sz="1100" b="0" i="0" u="none" strike="noStrike" cap="none">
                        <a:solidFill>
                          <a:srgbClr val="595959"/>
                        </a:solidFill>
                        <a:latin typeface="Georgia"/>
                        <a:ea typeface="Georgia"/>
                        <a:cs typeface="Georgia"/>
                        <a:sym typeface="Georgia"/>
                      </a:rPr>
                      <a:t>many</a:t>
                    </a:r>
                    <a:endParaRPr sz="11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sp>
                <p:nvSpPr>
                  <p:cNvPr id="456" name="Google Shape;456;p53"/>
                  <p:cNvSpPr/>
                  <p:nvPr/>
                </p:nvSpPr>
                <p:spPr>
                  <a:xfrm>
                    <a:off x="4419942" y="4914585"/>
                    <a:ext cx="1066800" cy="137830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68575" tIns="34275" rIns="68575" bIns="34275" anchor="ctr" anchorCtr="0">
                    <a:noAutofit/>
                  </a:bodyPr>
                  <a:lstStyle/>
                  <a:p>
                    <a:pPr marL="0" marR="0" lvl="0" indent="0" algn="ctr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595959"/>
                      </a:buClr>
                      <a:buSzPts val="1100"/>
                      <a:buFont typeface="Arial"/>
                      <a:buNone/>
                    </a:pPr>
                    <a:r>
                      <a:rPr lang="en" sz="1100" b="0" i="0" u="none" strike="noStrike" cap="none">
                        <a:solidFill>
                          <a:srgbClr val="595959"/>
                        </a:solidFill>
                        <a:latin typeface="Georgia"/>
                        <a:ea typeface="Georgia"/>
                        <a:cs typeface="Georgia"/>
                        <a:sym typeface="Georgia"/>
                      </a:rPr>
                      <a:t>Anyone</a:t>
                    </a:r>
                    <a:endParaRPr sz="11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endParaRPr>
                  </a:p>
                </p:txBody>
              </p:sp>
              <p:cxnSp>
                <p:nvCxnSpPr>
                  <p:cNvPr id="457" name="Google Shape;457;p53"/>
                  <p:cNvCxnSpPr/>
                  <p:nvPr/>
                </p:nvCxnSpPr>
                <p:spPr>
                  <a:xfrm rot="10800000" flipH="1">
                    <a:off x="6214345" y="5318950"/>
                    <a:ext cx="822900" cy="342900"/>
                  </a:xfrm>
                  <a:prstGeom prst="bentConnector3">
                    <a:avLst>
                      <a:gd name="adj1" fmla="val 5678"/>
                    </a:avLst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  <p:cxnSp>
                <p:nvCxnSpPr>
                  <p:cNvPr id="458" name="Google Shape;458;p53"/>
                  <p:cNvCxnSpPr>
                    <a:stCxn id="448" idx="2"/>
                  </p:cNvCxnSpPr>
                  <p:nvPr/>
                </p:nvCxnSpPr>
                <p:spPr>
                  <a:xfrm rot="-5400000" flipH="1">
                    <a:off x="5882862" y="5303809"/>
                    <a:ext cx="273900" cy="2103000"/>
                  </a:xfrm>
                  <a:prstGeom prst="bentConnector2">
                    <a:avLst/>
                  </a:prstGeom>
                  <a:noFill/>
                  <a:ln w="38100" cap="flat" cmpd="sng">
                    <a:solidFill>
                      <a:srgbClr val="D62E1C"/>
                    </a:solidFill>
                    <a:prstDash val="solid"/>
                    <a:round/>
                    <a:headEnd type="none" w="sm" len="sm"/>
                    <a:tailEnd type="triangle" w="med" len="med"/>
                  </a:ln>
                </p:spPr>
              </p:cxnSp>
            </p:grpSp>
            <p:sp>
              <p:nvSpPr>
                <p:cNvPr id="459" name="Google Shape;459;p53"/>
                <p:cNvSpPr/>
                <p:nvPr/>
              </p:nvSpPr>
              <p:spPr>
                <a:xfrm>
                  <a:off x="7386661" y="2543570"/>
                  <a:ext cx="1066800" cy="32528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595959"/>
                    </a:buClr>
                    <a:buSzPts val="900"/>
                    <a:buFont typeface="Arial"/>
                    <a:buNone/>
                  </a:pPr>
                  <a:r>
                    <a:rPr lang="en" sz="900" b="1" i="0" u="none" strike="noStrike" cap="none">
                      <a:solidFill>
                        <a:srgbClr val="595959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One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60" name="Google Shape;460;p53"/>
                <p:cNvSpPr/>
                <p:nvPr/>
              </p:nvSpPr>
              <p:spPr>
                <a:xfrm>
                  <a:off x="7511423" y="3931507"/>
                  <a:ext cx="853029" cy="55013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595959"/>
                    </a:buClr>
                    <a:buSzPts val="900"/>
                    <a:buFont typeface="Arial"/>
                    <a:buNone/>
                  </a:pPr>
                  <a:r>
                    <a:rPr lang="en" sz="900" b="1" i="0" u="none" strike="noStrike" cap="none">
                      <a:solidFill>
                        <a:srgbClr val="595959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Owner Group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61" name="Google Shape;461;p53"/>
                <p:cNvSpPr/>
                <p:nvPr/>
              </p:nvSpPr>
              <p:spPr>
                <a:xfrm>
                  <a:off x="7338751" y="5111718"/>
                  <a:ext cx="1162620" cy="5501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595959"/>
                    </a:buClr>
                    <a:buSzPts val="900"/>
                    <a:buFont typeface="Arial"/>
                    <a:buNone/>
                  </a:pPr>
                  <a:r>
                    <a:rPr lang="en" sz="900" b="1" i="0" u="none" strike="noStrike" cap="none">
                      <a:solidFill>
                        <a:srgbClr val="595959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Owners of trusted ledger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62" name="Google Shape;462;p53"/>
                <p:cNvSpPr/>
                <p:nvPr/>
              </p:nvSpPr>
              <p:spPr>
                <a:xfrm>
                  <a:off x="7386661" y="6245352"/>
                  <a:ext cx="1393949" cy="5501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68575" tIns="34275" rIns="68575" bIns="34275" anchor="ctr" anchorCtr="0">
                  <a:noAutofit/>
                </a:bodyPr>
                <a:lstStyle/>
                <a:p>
                  <a:pPr marL="0" marR="0" lvl="0" indent="0" algn="ctr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595959"/>
                    </a:buClr>
                    <a:buSzPts val="900"/>
                    <a:buFont typeface="Arial"/>
                    <a:buNone/>
                  </a:pPr>
                  <a:r>
                    <a:rPr lang="en" sz="900" b="1" i="0" u="none" strike="noStrike" cap="none">
                      <a:solidFill>
                        <a:srgbClr val="595959"/>
                      </a:solidFill>
                      <a:latin typeface="Georgia"/>
                      <a:ea typeface="Georgia"/>
                      <a:cs typeface="Georgia"/>
                      <a:sym typeface="Georgia"/>
                    </a:rPr>
                    <a:t>Any user, by untrusted consensus</a:t>
                  </a:r>
                  <a:endParaRPr sz="11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sp>
          <p:nvSpPr>
            <p:cNvPr id="463" name="Google Shape;463;p53"/>
            <p:cNvSpPr txBox="1"/>
            <p:nvPr/>
          </p:nvSpPr>
          <p:spPr>
            <a:xfrm>
              <a:off x="7225349" y="1751517"/>
              <a:ext cx="3693384" cy="1846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" sz="900" b="1" i="1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How to select a type of blockchain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4" name="Google Shape;464;p53"/>
            <p:cNvSpPr txBox="1"/>
            <p:nvPr/>
          </p:nvSpPr>
          <p:spPr>
            <a:xfrm>
              <a:off x="625801" y="2855345"/>
              <a:ext cx="3882596" cy="782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62E1C"/>
                </a:buClr>
                <a:buSzPts val="900"/>
                <a:buFont typeface="Arial"/>
                <a:buNone/>
              </a:pPr>
              <a:r>
                <a:rPr lang="en" sz="900" b="1" i="1" u="none" strike="noStrike" cap="none" dirty="0">
                  <a:solidFill>
                    <a:srgbClr val="D62E1C"/>
                  </a:solidFill>
                  <a:latin typeface="Georgia"/>
                  <a:ea typeface="Georgia"/>
                  <a:cs typeface="Georgia"/>
                  <a:sym typeface="Georgia"/>
                </a:rPr>
                <a:t>1 Public Blockchain</a:t>
              </a:r>
              <a:endParaRPr sz="11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" sz="900" b="0" i="0" u="none" strike="noStrike" cap="none" dirty="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Fully decentralized and Transparent - Anyone can read, send transactions &amp; participate in the consensus process</a:t>
              </a:r>
              <a:endParaRPr sz="9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65" name="Google Shape;465;p53"/>
            <p:cNvSpPr txBox="1"/>
            <p:nvPr/>
          </p:nvSpPr>
          <p:spPr>
            <a:xfrm>
              <a:off x="625801" y="4130319"/>
              <a:ext cx="3882596" cy="782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62E1C"/>
                </a:buClr>
                <a:buSzPts val="900"/>
                <a:buFont typeface="Arial"/>
                <a:buNone/>
              </a:pPr>
              <a:r>
                <a:rPr lang="en" sz="900" b="1" i="1" u="none" strike="noStrike" cap="none">
                  <a:solidFill>
                    <a:srgbClr val="D62E1C"/>
                  </a:solidFill>
                  <a:latin typeface="Georgia"/>
                  <a:ea typeface="Georgia"/>
                  <a:cs typeface="Georgia"/>
                  <a:sym typeface="Georgia"/>
                </a:rPr>
                <a:t>2 Permissioned Blockchain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" sz="9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Quasi decentralized where special participants are given privileged rights in the system. Not everyone can write into the database.</a:t>
              </a:r>
              <a:endParaRPr sz="900" b="0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66" name="Google Shape;466;p53"/>
            <p:cNvSpPr txBox="1"/>
            <p:nvPr/>
          </p:nvSpPr>
          <p:spPr>
            <a:xfrm>
              <a:off x="625752" y="5405293"/>
              <a:ext cx="3882596" cy="782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62E1C"/>
                </a:buClr>
                <a:buSzPts val="900"/>
                <a:buFont typeface="Arial"/>
                <a:buNone/>
              </a:pPr>
              <a:r>
                <a:rPr lang="en" sz="900" b="1" i="1" u="none" strike="noStrike" cap="none">
                  <a:solidFill>
                    <a:srgbClr val="D62E1C"/>
                  </a:solidFill>
                  <a:latin typeface="Georgia"/>
                  <a:ea typeface="Georgia"/>
                  <a:cs typeface="Georgia"/>
                  <a:sym typeface="Georgia"/>
                </a:rPr>
                <a:t>3 Private Blockchain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" sz="9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Only selected individuals can become the node in the network. All the participants will be known to each other and will have rights as per their roles.</a:t>
              </a:r>
              <a:endParaRPr sz="900" b="0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67" name="Google Shape;467;p53"/>
            <p:cNvSpPr txBox="1"/>
            <p:nvPr/>
          </p:nvSpPr>
          <p:spPr>
            <a:xfrm>
              <a:off x="668123" y="1896792"/>
              <a:ext cx="3693384" cy="1846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" sz="900" b="1" i="1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Types of Blockchain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68" name="Google Shape;468;p53"/>
            <p:cNvCxnSpPr/>
            <p:nvPr/>
          </p:nvCxnSpPr>
          <p:spPr>
            <a:xfrm>
              <a:off x="4670644" y="2150213"/>
              <a:ext cx="842" cy="4463183"/>
            </a:xfrm>
            <a:prstGeom prst="straightConnector1">
              <a:avLst/>
            </a:prstGeom>
            <a:noFill/>
            <a:ln w="12700" cap="flat" cmpd="sng">
              <a:solidFill>
                <a:srgbClr val="D62E1C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54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>
                <a:latin typeface="Georgia" panose="02040502050405020303" pitchFamily="18" charset="0"/>
              </a:rPr>
              <a:t>Blockchain Advantages over Traditional Database</a:t>
            </a:r>
            <a:endParaRPr sz="2200" dirty="0">
              <a:latin typeface="Georgia" panose="02040502050405020303" pitchFamily="18" charset="0"/>
            </a:endParaRPr>
          </a:p>
        </p:txBody>
      </p:sp>
      <p:sp>
        <p:nvSpPr>
          <p:cNvPr id="474" name="Google Shape;474;p54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grpSp>
        <p:nvGrpSpPr>
          <p:cNvPr id="475" name="Google Shape;475;p54"/>
          <p:cNvGrpSpPr/>
          <p:nvPr/>
        </p:nvGrpSpPr>
        <p:grpSpPr>
          <a:xfrm>
            <a:off x="875296" y="881628"/>
            <a:ext cx="7715851" cy="4014510"/>
            <a:chOff x="1249033" y="1393868"/>
            <a:chExt cx="9917327" cy="5091497"/>
          </a:xfrm>
        </p:grpSpPr>
        <p:cxnSp>
          <p:nvCxnSpPr>
            <p:cNvPr id="476" name="Google Shape;476;p54"/>
            <p:cNvCxnSpPr>
              <a:cxnSpLocks/>
            </p:cNvCxnSpPr>
            <p:nvPr/>
          </p:nvCxnSpPr>
          <p:spPr>
            <a:xfrm>
              <a:off x="6027959" y="1661938"/>
              <a:ext cx="23673" cy="3943243"/>
            </a:xfrm>
            <a:prstGeom prst="straightConnector1">
              <a:avLst/>
            </a:prstGeom>
            <a:noFill/>
            <a:ln w="9525" cap="flat" cmpd="sng">
              <a:solidFill>
                <a:srgbClr val="D046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77" name="Google Shape;477;p54"/>
            <p:cNvSpPr txBox="1"/>
            <p:nvPr/>
          </p:nvSpPr>
          <p:spPr>
            <a:xfrm>
              <a:off x="2808902" y="1393868"/>
              <a:ext cx="3489008" cy="3267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" sz="1400" b="1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Why Blockchain?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8" name="Google Shape;478;p54"/>
            <p:cNvSpPr txBox="1"/>
            <p:nvPr/>
          </p:nvSpPr>
          <p:spPr>
            <a:xfrm>
              <a:off x="6719116" y="1393868"/>
              <a:ext cx="3489008" cy="3267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" sz="14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Alternative Digital Platform  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79" name="Google Shape;479;p54"/>
            <p:cNvCxnSpPr/>
            <p:nvPr/>
          </p:nvCxnSpPr>
          <p:spPr>
            <a:xfrm>
              <a:off x="1252182" y="2450700"/>
              <a:ext cx="4802602" cy="0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80" name="Google Shape;480;p54"/>
            <p:cNvSpPr/>
            <p:nvPr/>
          </p:nvSpPr>
          <p:spPr>
            <a:xfrm>
              <a:off x="2538179" y="1858046"/>
              <a:ext cx="3553925" cy="602580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Distributed system shared across business network thereby eliminating a “single point of failure”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1" name="Google Shape;481;p54"/>
            <p:cNvSpPr/>
            <p:nvPr/>
          </p:nvSpPr>
          <p:spPr>
            <a:xfrm>
              <a:off x="1252182" y="2016881"/>
              <a:ext cx="1248676" cy="418407"/>
            </a:xfrm>
            <a:custGeom>
              <a:avLst/>
              <a:gdLst/>
              <a:ahLst/>
              <a:cxnLst/>
              <a:rect l="l" t="t" r="r" b="b"/>
              <a:pathLst>
                <a:path w="1513547" h="507160" extrusionOk="0">
                  <a:moveTo>
                    <a:pt x="84544" y="0"/>
                  </a:moveTo>
                  <a:lnTo>
                    <a:pt x="1429003" y="0"/>
                  </a:lnTo>
                  <a:cubicBezTo>
                    <a:pt x="1475695" y="0"/>
                    <a:pt x="1513547" y="37852"/>
                    <a:pt x="1513547" y="84544"/>
                  </a:cubicBezTo>
                  <a:lnTo>
                    <a:pt x="1513547" y="507160"/>
                  </a:lnTo>
                  <a:lnTo>
                    <a:pt x="1513547" y="507160"/>
                  </a:lnTo>
                  <a:lnTo>
                    <a:pt x="0" y="507160"/>
                  </a:lnTo>
                  <a:lnTo>
                    <a:pt x="0" y="507160"/>
                  </a:lnTo>
                  <a:lnTo>
                    <a:pt x="0" y="84544"/>
                  </a:lnTo>
                  <a:cubicBezTo>
                    <a:pt x="0" y="37852"/>
                    <a:pt x="37852" y="0"/>
                    <a:pt x="84544" y="0"/>
                  </a:cubicBezTo>
                  <a:close/>
                </a:path>
              </a:pathLst>
            </a:custGeom>
            <a:gradFill>
              <a:gsLst>
                <a:gs pos="0">
                  <a:srgbClr val="CDB1B2"/>
                </a:gs>
                <a:gs pos="35000">
                  <a:srgbClr val="DBC9C9"/>
                </a:gs>
                <a:gs pos="100000">
                  <a:srgbClr val="F1EAEA"/>
                </a:gs>
              </a:gsLst>
              <a:lin ang="16200000" scaled="0"/>
            </a:gradFill>
            <a:ln w="9525" cap="flat" cmpd="sng">
              <a:solidFill>
                <a:srgbClr val="60211D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0000" dir="5400000" rotWithShape="0">
                <a:srgbClr val="000000">
                  <a:alpha val="37254"/>
                </a:srgbClr>
              </a:outerShdw>
            </a:effectLst>
          </p:spPr>
          <p:txBody>
            <a:bodyPr spcFirstLastPara="1" wrap="square" lIns="29450" tIns="29450" rIns="29450" bIns="141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Shared Ledger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2" name="Google Shape;482;p54"/>
            <p:cNvSpPr txBox="1"/>
            <p:nvPr/>
          </p:nvSpPr>
          <p:spPr>
            <a:xfrm>
              <a:off x="6103022" y="1961256"/>
              <a:ext cx="4673310" cy="1834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Central systems are </a:t>
              </a:r>
              <a:r>
                <a:rPr lang="en"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prone to single point of failure</a:t>
              </a: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.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83" name="Google Shape;483;p54"/>
            <p:cNvCxnSpPr/>
            <p:nvPr/>
          </p:nvCxnSpPr>
          <p:spPr>
            <a:xfrm>
              <a:off x="6049989" y="2450700"/>
              <a:ext cx="4802602" cy="0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484" name="Google Shape;484;p54"/>
            <p:cNvGrpSpPr/>
            <p:nvPr/>
          </p:nvGrpSpPr>
          <p:grpSpPr>
            <a:xfrm>
              <a:off x="1249033" y="4267824"/>
              <a:ext cx="9917327" cy="643210"/>
              <a:chOff x="327458" y="2107170"/>
              <a:chExt cx="12021002" cy="643210"/>
            </a:xfrm>
          </p:grpSpPr>
          <p:cxnSp>
            <p:nvCxnSpPr>
              <p:cNvPr id="485" name="Google Shape;485;p54"/>
              <p:cNvCxnSpPr/>
              <p:nvPr/>
            </p:nvCxnSpPr>
            <p:spPr>
              <a:xfrm>
                <a:off x="353776" y="2722481"/>
                <a:ext cx="5821338" cy="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4C18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486" name="Google Shape;486;p54"/>
              <p:cNvSpPr/>
              <p:nvPr/>
            </p:nvSpPr>
            <p:spPr>
              <a:xfrm>
                <a:off x="1926843" y="2120825"/>
                <a:ext cx="4307788" cy="507159"/>
              </a:xfrm>
              <a:custGeom>
                <a:avLst/>
                <a:gdLst/>
                <a:ahLst/>
                <a:cxnLst/>
                <a:rect l="l" t="t" r="r" b="b"/>
                <a:pathLst>
                  <a:path w="4307788" h="507160" extrusionOk="0">
                    <a:moveTo>
                      <a:pt x="0" y="0"/>
                    </a:moveTo>
                    <a:lnTo>
                      <a:pt x="4307788" y="0"/>
                    </a:lnTo>
                    <a:lnTo>
                      <a:pt x="4307788" y="507160"/>
                    </a:lnTo>
                    <a:lnTo>
                      <a:pt x="0" y="50716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4150" tIns="14150" rIns="14150" bIns="14150" anchor="b" anchorCtr="0">
                <a:noAutofit/>
              </a:bodyPr>
              <a:lstStyle/>
              <a:p>
                <a:pPr marL="0" marR="0" lvl="0" indent="0" algn="l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Business rules that are coded in &amp; executed when conditions are met</a:t>
                </a:r>
                <a:endParaRPr sz="11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7" name="Google Shape;487;p54"/>
              <p:cNvSpPr/>
              <p:nvPr/>
            </p:nvSpPr>
            <p:spPr>
              <a:xfrm>
                <a:off x="327458" y="2107170"/>
                <a:ext cx="1513546" cy="582887"/>
              </a:xfrm>
              <a:custGeom>
                <a:avLst/>
                <a:gdLst/>
                <a:ahLst/>
                <a:cxnLst/>
                <a:rect l="l" t="t" r="r" b="b"/>
                <a:pathLst>
                  <a:path w="1513547" h="507160" extrusionOk="0">
                    <a:moveTo>
                      <a:pt x="84544" y="0"/>
                    </a:moveTo>
                    <a:lnTo>
                      <a:pt x="1429003" y="0"/>
                    </a:lnTo>
                    <a:cubicBezTo>
                      <a:pt x="1475695" y="0"/>
                      <a:pt x="1513547" y="37852"/>
                      <a:pt x="1513547" y="84544"/>
                    </a:cubicBezTo>
                    <a:lnTo>
                      <a:pt x="1513547" y="507160"/>
                    </a:lnTo>
                    <a:lnTo>
                      <a:pt x="1513547" y="507160"/>
                    </a:lnTo>
                    <a:lnTo>
                      <a:pt x="0" y="507160"/>
                    </a:lnTo>
                    <a:lnTo>
                      <a:pt x="0" y="507160"/>
                    </a:lnTo>
                    <a:lnTo>
                      <a:pt x="0" y="84544"/>
                    </a:lnTo>
                    <a:cubicBezTo>
                      <a:pt x="0" y="37852"/>
                      <a:pt x="37852" y="0"/>
                      <a:pt x="84544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CDB1B2"/>
                  </a:gs>
                  <a:gs pos="35000">
                    <a:srgbClr val="DBC9C9"/>
                  </a:gs>
                  <a:gs pos="100000">
                    <a:srgbClr val="F1EAEA"/>
                  </a:gs>
                </a:gsLst>
                <a:lin ang="16200000" scaled="0"/>
              </a:gradFill>
              <a:ln w="9525" cap="flat" cmpd="sng">
                <a:solidFill>
                  <a:srgbClr val="60211D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40000" dist="20000" dir="5400000" rotWithShape="0">
                  <a:srgbClr val="000000">
                    <a:alpha val="37254"/>
                  </a:srgbClr>
                </a:outerShdw>
              </a:effectLst>
            </p:spPr>
            <p:txBody>
              <a:bodyPr spcFirstLastPara="1" wrap="square" lIns="29450" tIns="29450" rIns="29450" bIns="141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Smart Contract</a:t>
                </a:r>
                <a:endParaRPr sz="11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8" name="Google Shape;488;p54"/>
              <p:cNvSpPr txBox="1"/>
              <p:nvPr/>
            </p:nvSpPr>
            <p:spPr>
              <a:xfrm>
                <a:off x="6214362" y="2151367"/>
                <a:ext cx="6134098" cy="5990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Since underlying information is</a:t>
                </a:r>
                <a:r>
                  <a:rPr lang="en" sz="1100" b="1" i="0" u="none" strike="noStrike" cap="none">
                    <a:solidFill>
                      <a:srgbClr val="C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 not immutable and therefore trustworthy, </a:t>
                </a: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Autonomy in business is not feasible</a:t>
                </a:r>
                <a:endParaRPr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cxnSp>
            <p:nvCxnSpPr>
              <p:cNvPr id="489" name="Google Shape;489;p54"/>
              <p:cNvCxnSpPr/>
              <p:nvPr/>
            </p:nvCxnSpPr>
            <p:spPr>
              <a:xfrm rot="10800000" flipH="1">
                <a:off x="6156672" y="2700528"/>
                <a:ext cx="5929451" cy="20107"/>
              </a:xfrm>
              <a:prstGeom prst="straightConnector1">
                <a:avLst/>
              </a:prstGeom>
              <a:noFill/>
              <a:ln w="25400" cap="flat" cmpd="sng">
                <a:solidFill>
                  <a:srgbClr val="4C18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  <p:grpSp>
          <p:nvGrpSpPr>
            <p:cNvPr id="490" name="Google Shape;490;p54"/>
            <p:cNvGrpSpPr/>
            <p:nvPr/>
          </p:nvGrpSpPr>
          <p:grpSpPr>
            <a:xfrm>
              <a:off x="1252182" y="5029097"/>
              <a:ext cx="9585134" cy="612771"/>
              <a:chOff x="331276" y="2329645"/>
              <a:chExt cx="11618350" cy="612771"/>
            </a:xfrm>
          </p:grpSpPr>
          <p:cxnSp>
            <p:nvCxnSpPr>
              <p:cNvPr id="491" name="Google Shape;491;p54"/>
              <p:cNvCxnSpPr/>
              <p:nvPr/>
            </p:nvCxnSpPr>
            <p:spPr>
              <a:xfrm>
                <a:off x="331276" y="2942416"/>
                <a:ext cx="5821336" cy="0"/>
              </a:xfrm>
              <a:prstGeom prst="straightConnector1">
                <a:avLst/>
              </a:prstGeom>
              <a:noFill/>
              <a:ln w="25400" cap="flat" cmpd="sng">
                <a:solidFill>
                  <a:srgbClr val="4C18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492" name="Google Shape;492;p54"/>
              <p:cNvSpPr/>
              <p:nvPr/>
            </p:nvSpPr>
            <p:spPr>
              <a:xfrm>
                <a:off x="1885836" y="2380447"/>
                <a:ext cx="4161624" cy="507161"/>
              </a:xfrm>
              <a:custGeom>
                <a:avLst/>
                <a:gdLst/>
                <a:ahLst/>
                <a:cxnLst/>
                <a:rect l="l" t="t" r="r" b="b"/>
                <a:pathLst>
                  <a:path w="4307788" h="507160" extrusionOk="0">
                    <a:moveTo>
                      <a:pt x="0" y="0"/>
                    </a:moveTo>
                    <a:lnTo>
                      <a:pt x="4307788" y="0"/>
                    </a:lnTo>
                    <a:lnTo>
                      <a:pt x="4307788" y="507160"/>
                    </a:lnTo>
                    <a:lnTo>
                      <a:pt x="0" y="50716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</p:spPr>
            <p:txBody>
              <a:bodyPr spcFirstLastPara="1" wrap="square" lIns="14150" tIns="14150" rIns="14150" bIns="14150" anchor="b" anchorCtr="0">
                <a:noAutofit/>
              </a:bodyPr>
              <a:lstStyle/>
              <a:p>
                <a:pPr marL="0" marR="0" lvl="0" indent="0" algn="l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A transaction is only committed when all parties agree to network verified transaction  </a:t>
                </a:r>
                <a:endParaRPr sz="11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3" name="Google Shape;493;p54"/>
              <p:cNvSpPr/>
              <p:nvPr/>
            </p:nvSpPr>
            <p:spPr>
              <a:xfrm>
                <a:off x="331276" y="2335589"/>
                <a:ext cx="1513547" cy="507158"/>
              </a:xfrm>
              <a:custGeom>
                <a:avLst/>
                <a:gdLst/>
                <a:ahLst/>
                <a:cxnLst/>
                <a:rect l="l" t="t" r="r" b="b"/>
                <a:pathLst>
                  <a:path w="1513547" h="507160" extrusionOk="0">
                    <a:moveTo>
                      <a:pt x="84544" y="0"/>
                    </a:moveTo>
                    <a:lnTo>
                      <a:pt x="1429003" y="0"/>
                    </a:lnTo>
                    <a:cubicBezTo>
                      <a:pt x="1475695" y="0"/>
                      <a:pt x="1513547" y="37852"/>
                      <a:pt x="1513547" y="84544"/>
                    </a:cubicBezTo>
                    <a:lnTo>
                      <a:pt x="1513547" y="507160"/>
                    </a:lnTo>
                    <a:lnTo>
                      <a:pt x="1513547" y="507160"/>
                    </a:lnTo>
                    <a:lnTo>
                      <a:pt x="0" y="507160"/>
                    </a:lnTo>
                    <a:lnTo>
                      <a:pt x="0" y="507160"/>
                    </a:lnTo>
                    <a:lnTo>
                      <a:pt x="0" y="84544"/>
                    </a:lnTo>
                    <a:cubicBezTo>
                      <a:pt x="0" y="37852"/>
                      <a:pt x="37852" y="0"/>
                      <a:pt x="84544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CDB1B2"/>
                  </a:gs>
                  <a:gs pos="35000">
                    <a:srgbClr val="DBC9C9"/>
                  </a:gs>
                  <a:gs pos="100000">
                    <a:srgbClr val="F1EAEA"/>
                  </a:gs>
                </a:gsLst>
                <a:lin ang="16200000" scaled="0"/>
              </a:gradFill>
              <a:ln w="9525" cap="flat" cmpd="sng">
                <a:solidFill>
                  <a:srgbClr val="60211D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40000" dist="20000" dir="5400000" rotWithShape="0">
                  <a:srgbClr val="000000">
                    <a:alpha val="37254"/>
                  </a:srgbClr>
                </a:outerShdw>
              </a:effectLst>
            </p:spPr>
            <p:txBody>
              <a:bodyPr spcFirstLastPara="1" wrap="square" lIns="29450" tIns="29450" rIns="29450" bIns="1415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Consensus</a:t>
                </a:r>
                <a:endParaRPr sz="11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4" name="Google Shape;494;p54"/>
              <p:cNvSpPr txBox="1"/>
              <p:nvPr/>
            </p:nvSpPr>
            <p:spPr>
              <a:xfrm>
                <a:off x="6217001" y="2329645"/>
                <a:ext cx="5690643" cy="3741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</a:pP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Currently, there is need of a trusted intermediary thereby introducing </a:t>
                </a:r>
                <a:r>
                  <a:rPr lang="en" sz="1100" b="1" i="0" u="none" strike="noStrike" cap="none">
                    <a:solidFill>
                      <a:srgbClr val="C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inefficiencies and high cost</a:t>
                </a:r>
                <a:r>
                  <a:rPr lang="en" sz="1100" b="0" i="0" u="none" strike="noStrike" cap="none">
                    <a:solidFill>
                      <a:srgbClr val="000000"/>
                    </a:solidFill>
                    <a:latin typeface="Georgia"/>
                    <a:ea typeface="Georgia"/>
                    <a:cs typeface="Georgia"/>
                    <a:sym typeface="Georgia"/>
                  </a:rPr>
                  <a:t>. </a:t>
                </a:r>
                <a:endParaRPr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cxnSp>
            <p:nvCxnSpPr>
              <p:cNvPr id="495" name="Google Shape;495;p54"/>
              <p:cNvCxnSpPr/>
              <p:nvPr/>
            </p:nvCxnSpPr>
            <p:spPr>
              <a:xfrm rot="10800000" flipH="1">
                <a:off x="6156676" y="2922308"/>
                <a:ext cx="5792950" cy="20108"/>
              </a:xfrm>
              <a:prstGeom prst="straightConnector1">
                <a:avLst/>
              </a:prstGeom>
              <a:noFill/>
              <a:ln w="25400" cap="flat" cmpd="sng">
                <a:solidFill>
                  <a:srgbClr val="4C18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  <p:cxnSp>
          <p:nvCxnSpPr>
            <p:cNvPr id="496" name="Google Shape;496;p54"/>
            <p:cNvCxnSpPr/>
            <p:nvPr/>
          </p:nvCxnSpPr>
          <p:spPr>
            <a:xfrm>
              <a:off x="1252182" y="4074527"/>
              <a:ext cx="4802602" cy="0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97" name="Google Shape;497;p54"/>
            <p:cNvCxnSpPr/>
            <p:nvPr/>
          </p:nvCxnSpPr>
          <p:spPr>
            <a:xfrm>
              <a:off x="1252182" y="3533969"/>
              <a:ext cx="4802602" cy="0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98" name="Google Shape;498;p54"/>
            <p:cNvCxnSpPr/>
            <p:nvPr/>
          </p:nvCxnSpPr>
          <p:spPr>
            <a:xfrm>
              <a:off x="1252182" y="2975845"/>
              <a:ext cx="4802602" cy="0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99" name="Google Shape;499;p54"/>
            <p:cNvSpPr/>
            <p:nvPr/>
          </p:nvSpPr>
          <p:spPr>
            <a:xfrm>
              <a:off x="2541272" y="2503521"/>
              <a:ext cx="3553925" cy="418407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 dirty="0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Complete History of asset ownership from creation to disposal</a:t>
              </a:r>
              <a:endParaRPr sz="11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0" name="Google Shape;500;p54"/>
            <p:cNvSpPr/>
            <p:nvPr/>
          </p:nvSpPr>
          <p:spPr>
            <a:xfrm>
              <a:off x="1252182" y="2540849"/>
              <a:ext cx="1248676" cy="418407"/>
            </a:xfrm>
            <a:custGeom>
              <a:avLst/>
              <a:gdLst/>
              <a:ahLst/>
              <a:cxnLst/>
              <a:rect l="l" t="t" r="r" b="b"/>
              <a:pathLst>
                <a:path w="1513547" h="507160" extrusionOk="0">
                  <a:moveTo>
                    <a:pt x="84544" y="0"/>
                  </a:moveTo>
                  <a:lnTo>
                    <a:pt x="1429003" y="0"/>
                  </a:lnTo>
                  <a:cubicBezTo>
                    <a:pt x="1475695" y="0"/>
                    <a:pt x="1513547" y="37852"/>
                    <a:pt x="1513547" y="84544"/>
                  </a:cubicBezTo>
                  <a:lnTo>
                    <a:pt x="1513547" y="507160"/>
                  </a:lnTo>
                  <a:lnTo>
                    <a:pt x="1513547" y="507160"/>
                  </a:lnTo>
                  <a:lnTo>
                    <a:pt x="0" y="507160"/>
                  </a:lnTo>
                  <a:lnTo>
                    <a:pt x="0" y="507160"/>
                  </a:lnTo>
                  <a:lnTo>
                    <a:pt x="0" y="84544"/>
                  </a:lnTo>
                  <a:cubicBezTo>
                    <a:pt x="0" y="37852"/>
                    <a:pt x="37852" y="0"/>
                    <a:pt x="84544" y="0"/>
                  </a:cubicBezTo>
                  <a:close/>
                </a:path>
              </a:pathLst>
            </a:custGeom>
            <a:gradFill>
              <a:gsLst>
                <a:gs pos="0">
                  <a:srgbClr val="CDB1B2"/>
                </a:gs>
                <a:gs pos="35000">
                  <a:srgbClr val="DBC9C9"/>
                </a:gs>
                <a:gs pos="100000">
                  <a:srgbClr val="F1EAEA"/>
                </a:gs>
              </a:gsLst>
              <a:lin ang="16200000" scaled="0"/>
            </a:gradFill>
            <a:ln w="9525" cap="flat" cmpd="sng">
              <a:solidFill>
                <a:srgbClr val="60211D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0000" dir="5400000" rotWithShape="0">
                <a:srgbClr val="000000">
                  <a:alpha val="37254"/>
                </a:srgbClr>
              </a:outerShdw>
            </a:effectLst>
          </p:spPr>
          <p:txBody>
            <a:bodyPr spcFirstLastPara="1" wrap="square" lIns="29450" tIns="29450" rIns="29450" bIns="141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Provenance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1" name="Google Shape;501;p54"/>
            <p:cNvSpPr/>
            <p:nvPr/>
          </p:nvSpPr>
          <p:spPr>
            <a:xfrm>
              <a:off x="2541272" y="3048280"/>
              <a:ext cx="3553925" cy="418407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Records that cannot be tampered once committed to the shared ledger</a:t>
              </a:r>
              <a:endParaRPr sz="1100" b="0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02" name="Google Shape;502;p54"/>
            <p:cNvSpPr/>
            <p:nvPr/>
          </p:nvSpPr>
          <p:spPr>
            <a:xfrm>
              <a:off x="1252182" y="3113267"/>
              <a:ext cx="1248676" cy="418407"/>
            </a:xfrm>
            <a:custGeom>
              <a:avLst/>
              <a:gdLst/>
              <a:ahLst/>
              <a:cxnLst/>
              <a:rect l="l" t="t" r="r" b="b"/>
              <a:pathLst>
                <a:path w="1513547" h="507160" extrusionOk="0">
                  <a:moveTo>
                    <a:pt x="84544" y="0"/>
                  </a:moveTo>
                  <a:lnTo>
                    <a:pt x="1429003" y="0"/>
                  </a:lnTo>
                  <a:cubicBezTo>
                    <a:pt x="1475695" y="0"/>
                    <a:pt x="1513547" y="37852"/>
                    <a:pt x="1513547" y="84544"/>
                  </a:cubicBezTo>
                  <a:lnTo>
                    <a:pt x="1513547" y="507160"/>
                  </a:lnTo>
                  <a:lnTo>
                    <a:pt x="1513547" y="507160"/>
                  </a:lnTo>
                  <a:lnTo>
                    <a:pt x="0" y="507160"/>
                  </a:lnTo>
                  <a:lnTo>
                    <a:pt x="0" y="507160"/>
                  </a:lnTo>
                  <a:lnTo>
                    <a:pt x="0" y="84544"/>
                  </a:lnTo>
                  <a:cubicBezTo>
                    <a:pt x="0" y="37852"/>
                    <a:pt x="37852" y="0"/>
                    <a:pt x="84544" y="0"/>
                  </a:cubicBezTo>
                  <a:close/>
                </a:path>
              </a:pathLst>
            </a:custGeom>
            <a:gradFill>
              <a:gsLst>
                <a:gs pos="0">
                  <a:srgbClr val="CDB1B2"/>
                </a:gs>
                <a:gs pos="35000">
                  <a:srgbClr val="DBC9C9"/>
                </a:gs>
                <a:gs pos="100000">
                  <a:srgbClr val="F1EAEA"/>
                </a:gs>
              </a:gsLst>
              <a:lin ang="16200000" scaled="0"/>
            </a:gradFill>
            <a:ln w="9525" cap="flat" cmpd="sng">
              <a:solidFill>
                <a:srgbClr val="60211D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0000" dir="5400000" rotWithShape="0">
                <a:srgbClr val="000000">
                  <a:alpha val="37254"/>
                </a:srgbClr>
              </a:outerShdw>
            </a:effectLst>
          </p:spPr>
          <p:txBody>
            <a:bodyPr spcFirstLastPara="1" wrap="square" lIns="29450" tIns="29450" rIns="29450" bIns="141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Immutability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3" name="Google Shape;503;p54"/>
            <p:cNvSpPr/>
            <p:nvPr/>
          </p:nvSpPr>
          <p:spPr>
            <a:xfrm>
              <a:off x="2572338" y="3608483"/>
              <a:ext cx="3518738" cy="418407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Once an operation is completed, the operation can never be reverted</a:t>
              </a:r>
              <a:endParaRPr sz="1100" b="0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04" name="Google Shape;504;p54"/>
            <p:cNvSpPr/>
            <p:nvPr/>
          </p:nvSpPr>
          <p:spPr>
            <a:xfrm>
              <a:off x="1252182" y="3656120"/>
              <a:ext cx="1248676" cy="418407"/>
            </a:xfrm>
            <a:custGeom>
              <a:avLst/>
              <a:gdLst/>
              <a:ahLst/>
              <a:cxnLst/>
              <a:rect l="l" t="t" r="r" b="b"/>
              <a:pathLst>
                <a:path w="1513547" h="507160" extrusionOk="0">
                  <a:moveTo>
                    <a:pt x="84544" y="0"/>
                  </a:moveTo>
                  <a:lnTo>
                    <a:pt x="1429003" y="0"/>
                  </a:lnTo>
                  <a:cubicBezTo>
                    <a:pt x="1475695" y="0"/>
                    <a:pt x="1513547" y="37852"/>
                    <a:pt x="1513547" y="84544"/>
                  </a:cubicBezTo>
                  <a:lnTo>
                    <a:pt x="1513547" y="507160"/>
                  </a:lnTo>
                  <a:lnTo>
                    <a:pt x="1513547" y="507160"/>
                  </a:lnTo>
                  <a:lnTo>
                    <a:pt x="0" y="507160"/>
                  </a:lnTo>
                  <a:lnTo>
                    <a:pt x="0" y="507160"/>
                  </a:lnTo>
                  <a:lnTo>
                    <a:pt x="0" y="84544"/>
                  </a:lnTo>
                  <a:cubicBezTo>
                    <a:pt x="0" y="37852"/>
                    <a:pt x="37852" y="0"/>
                    <a:pt x="84544" y="0"/>
                  </a:cubicBezTo>
                  <a:close/>
                </a:path>
              </a:pathLst>
            </a:custGeom>
            <a:gradFill>
              <a:gsLst>
                <a:gs pos="0">
                  <a:srgbClr val="CDB1B2"/>
                </a:gs>
                <a:gs pos="35000">
                  <a:srgbClr val="DBC9C9"/>
                </a:gs>
                <a:gs pos="100000">
                  <a:srgbClr val="F1EAEA"/>
                </a:gs>
              </a:gsLst>
              <a:lin ang="16200000" scaled="0"/>
            </a:gradFill>
            <a:ln w="9525" cap="flat" cmpd="sng">
              <a:solidFill>
                <a:srgbClr val="60211D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0000" dir="5400000" rotWithShape="0">
                <a:srgbClr val="000000">
                  <a:alpha val="37254"/>
                </a:srgbClr>
              </a:outerShdw>
            </a:effectLst>
          </p:spPr>
          <p:txBody>
            <a:bodyPr spcFirstLastPara="1" wrap="square" lIns="29450" tIns="29450" rIns="29450" bIns="141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Finality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5" name="Google Shape;505;p54"/>
            <p:cNvCxnSpPr/>
            <p:nvPr/>
          </p:nvCxnSpPr>
          <p:spPr>
            <a:xfrm rot="10800000" flipH="1">
              <a:off x="6058137" y="2959256"/>
              <a:ext cx="4779184" cy="16589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506" name="Google Shape;506;p54"/>
            <p:cNvSpPr txBox="1"/>
            <p:nvPr/>
          </p:nvSpPr>
          <p:spPr>
            <a:xfrm>
              <a:off x="6114553" y="2481798"/>
              <a:ext cx="4698135" cy="4342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Audit Trail are subject to conditions that the </a:t>
              </a:r>
              <a:r>
                <a:rPr lang="en"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custodians or owners of the data remain honest. 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7" name="Google Shape;507;p54"/>
            <p:cNvCxnSpPr/>
            <p:nvPr/>
          </p:nvCxnSpPr>
          <p:spPr>
            <a:xfrm rot="10800000" flipH="1">
              <a:off x="6054783" y="3524250"/>
              <a:ext cx="4779184" cy="16589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508" name="Google Shape;508;p54"/>
            <p:cNvSpPr/>
            <p:nvPr/>
          </p:nvSpPr>
          <p:spPr>
            <a:xfrm>
              <a:off x="6095865" y="3038845"/>
              <a:ext cx="4710947" cy="418407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Immutability of information stored on the blockchain </a:t>
              </a:r>
              <a:r>
                <a:rPr lang="en" sz="1100" b="1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cannot</a:t>
              </a:r>
              <a:r>
                <a:rPr lang="en"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 be replicated</a:t>
              </a:r>
              <a:endParaRPr sz="1100" b="1" i="0" u="none" strike="noStrike" cap="none">
                <a:solidFill>
                  <a:srgbClr val="C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cxnSp>
          <p:nvCxnSpPr>
            <p:cNvPr id="509" name="Google Shape;509;p54"/>
            <p:cNvCxnSpPr/>
            <p:nvPr/>
          </p:nvCxnSpPr>
          <p:spPr>
            <a:xfrm rot="10800000" flipH="1">
              <a:off x="6061912" y="4056037"/>
              <a:ext cx="4779184" cy="16589"/>
            </a:xfrm>
            <a:prstGeom prst="straightConnector1">
              <a:avLst/>
            </a:prstGeom>
            <a:noFill/>
            <a:ln w="25400" cap="flat" cmpd="sng">
              <a:solidFill>
                <a:srgbClr val="4C181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510" name="Google Shape;510;p54"/>
            <p:cNvSpPr/>
            <p:nvPr/>
          </p:nvSpPr>
          <p:spPr>
            <a:xfrm>
              <a:off x="6088617" y="3619275"/>
              <a:ext cx="4710947" cy="418407"/>
            </a:xfrm>
            <a:custGeom>
              <a:avLst/>
              <a:gdLst/>
              <a:ahLst/>
              <a:cxnLst/>
              <a:rect l="l" t="t" r="r" b="b"/>
              <a:pathLst>
                <a:path w="4307788" h="507160" extrusionOk="0">
                  <a:moveTo>
                    <a:pt x="0" y="0"/>
                  </a:moveTo>
                  <a:lnTo>
                    <a:pt x="4307788" y="0"/>
                  </a:lnTo>
                  <a:lnTo>
                    <a:pt x="4307788" y="507160"/>
                  </a:lnTo>
                  <a:lnTo>
                    <a:pt x="0" y="50716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14150" tIns="14150" rIns="14150" bIns="1415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Digital records are ‘modifiable’ and as such the </a:t>
              </a:r>
              <a:r>
                <a:rPr lang="en" sz="1100" b="1" i="0" u="none" strike="noStrike" cap="none">
                  <a:solidFill>
                    <a:srgbClr val="C00000"/>
                  </a:solidFill>
                  <a:latin typeface="Georgia"/>
                  <a:ea typeface="Georgia"/>
                  <a:cs typeface="Georgia"/>
                  <a:sym typeface="Georgia"/>
                </a:rPr>
                <a:t>information is never truly final and trustworthy</a:t>
              </a:r>
              <a:r>
                <a:rPr lang="en" sz="1100" b="0" i="0" u="none" strike="noStrike" cap="none">
                  <a:solidFill>
                    <a:srgbClr val="000000"/>
                  </a:solidFill>
                  <a:latin typeface="Georgia"/>
                  <a:ea typeface="Georgia"/>
                  <a:cs typeface="Georgia"/>
                  <a:sym typeface="Georgia"/>
                </a:rPr>
                <a:t>.</a:t>
              </a:r>
              <a:endParaRPr sz="1100" b="1" i="0" u="none" strike="noStrike" cap="none">
                <a:solidFill>
                  <a:srgbClr val="C00000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11" name="Google Shape;511;p54"/>
            <p:cNvSpPr/>
            <p:nvPr/>
          </p:nvSpPr>
          <p:spPr>
            <a:xfrm>
              <a:off x="2639839" y="5835760"/>
              <a:ext cx="3464329" cy="649605"/>
            </a:xfrm>
            <a:prstGeom prst="rect">
              <a:avLst/>
            </a:pr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rPr>
                <a:t>Unprecedented immutability leading to true provenance and finality 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2" name="Google Shape;512;p54"/>
            <p:cNvSpPr/>
            <p:nvPr/>
          </p:nvSpPr>
          <p:spPr>
            <a:xfrm>
              <a:off x="1270746" y="5835209"/>
              <a:ext cx="1226963" cy="649605"/>
            </a:xfrm>
            <a:prstGeom prst="rect">
              <a:avLst/>
            </a:prstGeom>
            <a:solidFill>
              <a:schemeClr val="accent5"/>
            </a:solidFill>
            <a:ln w="9525" cap="flat" cmpd="sng">
              <a:solidFill>
                <a:srgbClr val="97360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n" sz="1100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rPr>
                <a:t>Blockchain Advantage</a:t>
              </a:r>
              <a:endPara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3" name="Google Shape;513;p54"/>
            <p:cNvSpPr/>
            <p:nvPr/>
          </p:nvSpPr>
          <p:spPr>
            <a:xfrm>
              <a:off x="6245935" y="5835209"/>
              <a:ext cx="648502" cy="606848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BFBFBF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endParaRPr sz="7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14" name="Google Shape;514;p54"/>
            <p:cNvSpPr/>
            <p:nvPr/>
          </p:nvSpPr>
          <p:spPr>
            <a:xfrm>
              <a:off x="7069464" y="5772981"/>
              <a:ext cx="3464329" cy="649605"/>
            </a:xfrm>
            <a:prstGeom prst="rect">
              <a:avLst/>
            </a:prstGeom>
            <a:solidFill>
              <a:schemeClr val="accent1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>
                <a:buSzPts val="1100"/>
              </a:pPr>
              <a:r>
                <a:rPr lang="en" sz="1100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rPr>
                <a:t>Blockchain is the platform of choice for </a:t>
              </a:r>
              <a:r>
                <a:rPr lang="en" sz="1100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rPr>
                <a:t>digital record management</a:t>
              </a:r>
              <a:endParaRPr lang="en" sz="11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55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sp>
        <p:nvSpPr>
          <p:cNvPr id="521" name="Google Shape;521;p55"/>
          <p:cNvSpPr/>
          <p:nvPr/>
        </p:nvSpPr>
        <p:spPr>
          <a:xfrm>
            <a:off x="0" y="29817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2" name="Google Shape;522;p55"/>
          <p:cNvSpPr txBox="1"/>
          <p:nvPr/>
        </p:nvSpPr>
        <p:spPr>
          <a:xfrm>
            <a:off x="1095232" y="1525137"/>
            <a:ext cx="6987962" cy="438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" sz="2400" b="1" i="0" u="none" strike="noStrike" cap="none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Blockchain in license management system</a:t>
            </a:r>
            <a:endParaRPr sz="2400" b="1" i="0" u="none" strike="noStrike" cap="none" dirty="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p57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2200" dirty="0"/>
              <a:t>Blockchain based license management</a:t>
            </a:r>
            <a:endParaRPr sz="2200" dirty="0"/>
          </a:p>
        </p:txBody>
      </p:sp>
      <p:sp>
        <p:nvSpPr>
          <p:cNvPr id="541" name="Google Shape;541;p57"/>
          <p:cNvSpPr txBox="1">
            <a:spLocks noGrp="1"/>
          </p:cNvSpPr>
          <p:nvPr>
            <p:ph type="sldNum" idx="12"/>
          </p:nvPr>
        </p:nvSpPr>
        <p:spPr>
          <a:xfrm>
            <a:off x="7449078" y="4822207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542" name="Google Shape;542;p57"/>
          <p:cNvSpPr/>
          <p:nvPr/>
        </p:nvSpPr>
        <p:spPr>
          <a:xfrm>
            <a:off x="976266" y="1799001"/>
            <a:ext cx="733114" cy="719015"/>
          </a:xfrm>
          <a:custGeom>
            <a:avLst/>
            <a:gdLst/>
            <a:ahLst/>
            <a:cxnLst/>
            <a:rect l="l" t="t" r="r" b="b"/>
            <a:pathLst>
              <a:path w="6669" h="6668" extrusionOk="0">
                <a:moveTo>
                  <a:pt x="0" y="0"/>
                </a:moveTo>
                <a:lnTo>
                  <a:pt x="0" y="6668"/>
                </a:lnTo>
                <a:lnTo>
                  <a:pt x="6669" y="6668"/>
                </a:lnTo>
                <a:lnTo>
                  <a:pt x="6669" y="0"/>
                </a:lnTo>
                <a:lnTo>
                  <a:pt x="0" y="0"/>
                </a:lnTo>
                <a:close/>
                <a:moveTo>
                  <a:pt x="6385" y="2273"/>
                </a:moveTo>
                <a:lnTo>
                  <a:pt x="5987" y="2273"/>
                </a:lnTo>
                <a:lnTo>
                  <a:pt x="5987" y="1861"/>
                </a:lnTo>
                <a:lnTo>
                  <a:pt x="4877" y="1861"/>
                </a:lnTo>
                <a:lnTo>
                  <a:pt x="4877" y="2273"/>
                </a:lnTo>
                <a:lnTo>
                  <a:pt x="4199" y="2273"/>
                </a:lnTo>
                <a:lnTo>
                  <a:pt x="4199" y="1825"/>
                </a:lnTo>
                <a:lnTo>
                  <a:pt x="4611" y="1825"/>
                </a:lnTo>
                <a:lnTo>
                  <a:pt x="4611" y="718"/>
                </a:lnTo>
                <a:lnTo>
                  <a:pt x="4199" y="718"/>
                </a:lnTo>
                <a:lnTo>
                  <a:pt x="4199" y="284"/>
                </a:lnTo>
                <a:lnTo>
                  <a:pt x="6385" y="284"/>
                </a:lnTo>
                <a:lnTo>
                  <a:pt x="6385" y="2273"/>
                </a:lnTo>
                <a:close/>
                <a:moveTo>
                  <a:pt x="5703" y="2145"/>
                </a:moveTo>
                <a:lnTo>
                  <a:pt x="5703" y="2685"/>
                </a:lnTo>
                <a:lnTo>
                  <a:pt x="5161" y="2685"/>
                </a:lnTo>
                <a:lnTo>
                  <a:pt x="5161" y="2145"/>
                </a:lnTo>
                <a:lnTo>
                  <a:pt x="5703" y="2145"/>
                </a:lnTo>
                <a:close/>
                <a:moveTo>
                  <a:pt x="5289" y="5950"/>
                </a:moveTo>
                <a:lnTo>
                  <a:pt x="5289" y="6384"/>
                </a:lnTo>
                <a:lnTo>
                  <a:pt x="2824" y="6384"/>
                </a:lnTo>
                <a:lnTo>
                  <a:pt x="2824" y="5950"/>
                </a:lnTo>
                <a:lnTo>
                  <a:pt x="3236" y="5950"/>
                </a:lnTo>
                <a:lnTo>
                  <a:pt x="3236" y="5538"/>
                </a:lnTo>
                <a:lnTo>
                  <a:pt x="4877" y="5538"/>
                </a:lnTo>
                <a:lnTo>
                  <a:pt x="4877" y="5950"/>
                </a:lnTo>
                <a:lnTo>
                  <a:pt x="5289" y="5950"/>
                </a:lnTo>
                <a:close/>
                <a:moveTo>
                  <a:pt x="5161" y="5666"/>
                </a:moveTo>
                <a:lnTo>
                  <a:pt x="5161" y="5126"/>
                </a:lnTo>
                <a:lnTo>
                  <a:pt x="5703" y="5126"/>
                </a:lnTo>
                <a:lnTo>
                  <a:pt x="5703" y="5666"/>
                </a:lnTo>
                <a:lnTo>
                  <a:pt x="5161" y="5666"/>
                </a:lnTo>
                <a:close/>
                <a:moveTo>
                  <a:pt x="2952" y="5126"/>
                </a:moveTo>
                <a:lnTo>
                  <a:pt x="2952" y="5666"/>
                </a:lnTo>
                <a:lnTo>
                  <a:pt x="2412" y="5666"/>
                </a:lnTo>
                <a:lnTo>
                  <a:pt x="2412" y="5126"/>
                </a:lnTo>
                <a:lnTo>
                  <a:pt x="2952" y="5126"/>
                </a:lnTo>
                <a:close/>
                <a:moveTo>
                  <a:pt x="3236" y="5254"/>
                </a:moveTo>
                <a:lnTo>
                  <a:pt x="3236" y="4843"/>
                </a:lnTo>
                <a:lnTo>
                  <a:pt x="2824" y="4843"/>
                </a:lnTo>
                <a:lnTo>
                  <a:pt x="2824" y="3701"/>
                </a:lnTo>
                <a:lnTo>
                  <a:pt x="3503" y="3701"/>
                </a:lnTo>
                <a:lnTo>
                  <a:pt x="3503" y="4113"/>
                </a:lnTo>
                <a:lnTo>
                  <a:pt x="3915" y="4113"/>
                </a:lnTo>
                <a:lnTo>
                  <a:pt x="3915" y="5254"/>
                </a:lnTo>
                <a:lnTo>
                  <a:pt x="3236" y="5254"/>
                </a:lnTo>
                <a:close/>
                <a:moveTo>
                  <a:pt x="3787" y="3829"/>
                </a:moveTo>
                <a:lnTo>
                  <a:pt x="3787" y="3289"/>
                </a:lnTo>
                <a:lnTo>
                  <a:pt x="4327" y="3289"/>
                </a:lnTo>
                <a:lnTo>
                  <a:pt x="4327" y="3829"/>
                </a:lnTo>
                <a:lnTo>
                  <a:pt x="3787" y="3829"/>
                </a:lnTo>
                <a:close/>
                <a:moveTo>
                  <a:pt x="3503" y="3005"/>
                </a:moveTo>
                <a:lnTo>
                  <a:pt x="3503" y="3417"/>
                </a:lnTo>
                <a:lnTo>
                  <a:pt x="1860" y="3417"/>
                </a:lnTo>
                <a:lnTo>
                  <a:pt x="1860" y="3005"/>
                </a:lnTo>
                <a:lnTo>
                  <a:pt x="1448" y="3005"/>
                </a:lnTo>
                <a:lnTo>
                  <a:pt x="1448" y="1825"/>
                </a:lnTo>
                <a:lnTo>
                  <a:pt x="1860" y="1825"/>
                </a:lnTo>
                <a:lnTo>
                  <a:pt x="1860" y="718"/>
                </a:lnTo>
                <a:lnTo>
                  <a:pt x="1448" y="718"/>
                </a:lnTo>
                <a:lnTo>
                  <a:pt x="1448" y="284"/>
                </a:lnTo>
                <a:lnTo>
                  <a:pt x="3915" y="284"/>
                </a:lnTo>
                <a:lnTo>
                  <a:pt x="3915" y="718"/>
                </a:lnTo>
                <a:lnTo>
                  <a:pt x="3503" y="718"/>
                </a:lnTo>
                <a:lnTo>
                  <a:pt x="3503" y="1825"/>
                </a:lnTo>
                <a:lnTo>
                  <a:pt x="3915" y="1825"/>
                </a:lnTo>
                <a:lnTo>
                  <a:pt x="3915" y="3005"/>
                </a:lnTo>
                <a:lnTo>
                  <a:pt x="3503" y="3005"/>
                </a:lnTo>
                <a:close/>
                <a:moveTo>
                  <a:pt x="1576" y="3289"/>
                </a:moveTo>
                <a:lnTo>
                  <a:pt x="1576" y="3829"/>
                </a:lnTo>
                <a:lnTo>
                  <a:pt x="1036" y="3829"/>
                </a:lnTo>
                <a:lnTo>
                  <a:pt x="1036" y="3289"/>
                </a:lnTo>
                <a:lnTo>
                  <a:pt x="1576" y="3289"/>
                </a:lnTo>
                <a:close/>
                <a:moveTo>
                  <a:pt x="1576" y="1002"/>
                </a:moveTo>
                <a:lnTo>
                  <a:pt x="1576" y="1542"/>
                </a:lnTo>
                <a:lnTo>
                  <a:pt x="1036" y="1542"/>
                </a:lnTo>
                <a:lnTo>
                  <a:pt x="1036" y="1002"/>
                </a:lnTo>
                <a:lnTo>
                  <a:pt x="1576" y="1002"/>
                </a:lnTo>
                <a:close/>
                <a:moveTo>
                  <a:pt x="3787" y="1542"/>
                </a:moveTo>
                <a:lnTo>
                  <a:pt x="3787" y="1002"/>
                </a:lnTo>
                <a:lnTo>
                  <a:pt x="4327" y="1002"/>
                </a:lnTo>
                <a:lnTo>
                  <a:pt x="4327" y="1542"/>
                </a:lnTo>
                <a:lnTo>
                  <a:pt x="3787" y="1542"/>
                </a:lnTo>
                <a:close/>
                <a:moveTo>
                  <a:pt x="286" y="284"/>
                </a:moveTo>
                <a:lnTo>
                  <a:pt x="1164" y="284"/>
                </a:lnTo>
                <a:lnTo>
                  <a:pt x="1164" y="718"/>
                </a:lnTo>
                <a:lnTo>
                  <a:pt x="752" y="718"/>
                </a:lnTo>
                <a:lnTo>
                  <a:pt x="752" y="1825"/>
                </a:lnTo>
                <a:lnTo>
                  <a:pt x="1164" y="1825"/>
                </a:lnTo>
                <a:lnTo>
                  <a:pt x="1164" y="3005"/>
                </a:lnTo>
                <a:lnTo>
                  <a:pt x="752" y="3005"/>
                </a:lnTo>
                <a:lnTo>
                  <a:pt x="752" y="4113"/>
                </a:lnTo>
                <a:lnTo>
                  <a:pt x="1860" y="4113"/>
                </a:lnTo>
                <a:lnTo>
                  <a:pt x="1860" y="3701"/>
                </a:lnTo>
                <a:lnTo>
                  <a:pt x="2540" y="3701"/>
                </a:lnTo>
                <a:lnTo>
                  <a:pt x="2540" y="4843"/>
                </a:lnTo>
                <a:lnTo>
                  <a:pt x="2128" y="4843"/>
                </a:lnTo>
                <a:lnTo>
                  <a:pt x="2128" y="5950"/>
                </a:lnTo>
                <a:lnTo>
                  <a:pt x="2540" y="5950"/>
                </a:lnTo>
                <a:lnTo>
                  <a:pt x="2540" y="6384"/>
                </a:lnTo>
                <a:lnTo>
                  <a:pt x="286" y="6384"/>
                </a:lnTo>
                <a:lnTo>
                  <a:pt x="286" y="284"/>
                </a:lnTo>
                <a:close/>
                <a:moveTo>
                  <a:pt x="5575" y="6384"/>
                </a:moveTo>
                <a:lnTo>
                  <a:pt x="5575" y="5950"/>
                </a:lnTo>
                <a:lnTo>
                  <a:pt x="5987" y="5950"/>
                </a:lnTo>
                <a:lnTo>
                  <a:pt x="5987" y="4843"/>
                </a:lnTo>
                <a:lnTo>
                  <a:pt x="4877" y="4843"/>
                </a:lnTo>
                <a:lnTo>
                  <a:pt x="4877" y="5254"/>
                </a:lnTo>
                <a:lnTo>
                  <a:pt x="4199" y="5254"/>
                </a:lnTo>
                <a:lnTo>
                  <a:pt x="4199" y="4113"/>
                </a:lnTo>
                <a:lnTo>
                  <a:pt x="4611" y="4113"/>
                </a:lnTo>
                <a:lnTo>
                  <a:pt x="4611" y="3005"/>
                </a:lnTo>
                <a:lnTo>
                  <a:pt x="4199" y="3005"/>
                </a:lnTo>
                <a:lnTo>
                  <a:pt x="4199" y="2557"/>
                </a:lnTo>
                <a:lnTo>
                  <a:pt x="4877" y="2557"/>
                </a:lnTo>
                <a:lnTo>
                  <a:pt x="4877" y="2969"/>
                </a:lnTo>
                <a:lnTo>
                  <a:pt x="5987" y="2969"/>
                </a:lnTo>
                <a:lnTo>
                  <a:pt x="5987" y="2557"/>
                </a:lnTo>
                <a:lnTo>
                  <a:pt x="6385" y="2557"/>
                </a:lnTo>
                <a:lnTo>
                  <a:pt x="6385" y="6384"/>
                </a:lnTo>
                <a:lnTo>
                  <a:pt x="5575" y="6384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8625" tIns="29300" rIns="58625" bIns="293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3" name="Google Shape;543;p57"/>
          <p:cNvSpPr txBox="1"/>
          <p:nvPr/>
        </p:nvSpPr>
        <p:spPr>
          <a:xfrm>
            <a:off x="619582" y="3204185"/>
            <a:ext cx="1922402" cy="99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The data related to the license are stored in the cryptographically linked secure blockchain based ledger.</a:t>
            </a:r>
            <a:endParaRPr lang="en-US" sz="1200" dirty="0"/>
          </a:p>
        </p:txBody>
      </p:sp>
      <p:sp>
        <p:nvSpPr>
          <p:cNvPr id="544" name="Google Shape;544;p57"/>
          <p:cNvSpPr txBox="1"/>
          <p:nvPr/>
        </p:nvSpPr>
        <p:spPr>
          <a:xfrm>
            <a:off x="542017" y="2732569"/>
            <a:ext cx="2333767" cy="438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r>
              <a:rPr lang="en" sz="1200" b="1">
                <a:latin typeface="Georgia"/>
                <a:sym typeface="Georgia"/>
              </a:rPr>
              <a:t>Distributed and Decentralized storage</a:t>
            </a:r>
            <a:endParaRPr lang="en" sz="1200" b="1">
              <a:latin typeface="Georgia"/>
            </a:endParaRPr>
          </a:p>
        </p:txBody>
      </p:sp>
      <p:grpSp>
        <p:nvGrpSpPr>
          <p:cNvPr id="545" name="Google Shape;545;p57"/>
          <p:cNvGrpSpPr/>
          <p:nvPr/>
        </p:nvGrpSpPr>
        <p:grpSpPr>
          <a:xfrm>
            <a:off x="3082844" y="1799001"/>
            <a:ext cx="765823" cy="719015"/>
            <a:chOff x="4325112" y="2272755"/>
            <a:chExt cx="720108" cy="720000"/>
          </a:xfrm>
        </p:grpSpPr>
        <p:sp>
          <p:nvSpPr>
            <p:cNvPr id="546" name="Google Shape;546;p57"/>
            <p:cNvSpPr/>
            <p:nvPr/>
          </p:nvSpPr>
          <p:spPr>
            <a:xfrm>
              <a:off x="4325112" y="2272755"/>
              <a:ext cx="720108" cy="720000"/>
            </a:xfrm>
            <a:custGeom>
              <a:avLst/>
              <a:gdLst/>
              <a:ahLst/>
              <a:cxnLst/>
              <a:rect l="l" t="t" r="r" b="b"/>
              <a:pathLst>
                <a:path w="6696" h="6695" extrusionOk="0">
                  <a:moveTo>
                    <a:pt x="0" y="0"/>
                  </a:moveTo>
                  <a:lnTo>
                    <a:pt x="0" y="6695"/>
                  </a:lnTo>
                  <a:lnTo>
                    <a:pt x="6696" y="6695"/>
                  </a:lnTo>
                  <a:lnTo>
                    <a:pt x="6696" y="0"/>
                  </a:lnTo>
                  <a:lnTo>
                    <a:pt x="0" y="0"/>
                  </a:lnTo>
                  <a:close/>
                  <a:moveTo>
                    <a:pt x="6410" y="6411"/>
                  </a:moveTo>
                  <a:lnTo>
                    <a:pt x="284" y="6411"/>
                  </a:lnTo>
                  <a:lnTo>
                    <a:pt x="284" y="286"/>
                  </a:lnTo>
                  <a:lnTo>
                    <a:pt x="6410" y="286"/>
                  </a:lnTo>
                  <a:lnTo>
                    <a:pt x="6410" y="6411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8625" tIns="29300" rIns="58625" bIns="293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endPara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7" name="Google Shape;547;p57"/>
            <p:cNvSpPr/>
            <p:nvPr/>
          </p:nvSpPr>
          <p:spPr>
            <a:xfrm>
              <a:off x="4402113" y="2345454"/>
              <a:ext cx="570408" cy="570300"/>
            </a:xfrm>
            <a:custGeom>
              <a:avLst/>
              <a:gdLst/>
              <a:ahLst/>
              <a:cxnLst/>
              <a:rect l="l" t="t" r="r" b="b"/>
              <a:pathLst>
                <a:path w="5304" h="5303" extrusionOk="0">
                  <a:moveTo>
                    <a:pt x="202" y="5303"/>
                  </a:moveTo>
                  <a:lnTo>
                    <a:pt x="1852" y="3653"/>
                  </a:lnTo>
                  <a:lnTo>
                    <a:pt x="1852" y="3653"/>
                  </a:lnTo>
                  <a:lnTo>
                    <a:pt x="1926" y="3715"/>
                  </a:lnTo>
                  <a:lnTo>
                    <a:pt x="2002" y="3773"/>
                  </a:lnTo>
                  <a:lnTo>
                    <a:pt x="2082" y="3827"/>
                  </a:lnTo>
                  <a:lnTo>
                    <a:pt x="2162" y="3877"/>
                  </a:lnTo>
                  <a:lnTo>
                    <a:pt x="2244" y="3923"/>
                  </a:lnTo>
                  <a:lnTo>
                    <a:pt x="2328" y="3965"/>
                  </a:lnTo>
                  <a:lnTo>
                    <a:pt x="2414" y="4003"/>
                  </a:lnTo>
                  <a:lnTo>
                    <a:pt x="2500" y="4037"/>
                  </a:lnTo>
                  <a:lnTo>
                    <a:pt x="2588" y="4067"/>
                  </a:lnTo>
                  <a:lnTo>
                    <a:pt x="2676" y="4093"/>
                  </a:lnTo>
                  <a:lnTo>
                    <a:pt x="2766" y="4115"/>
                  </a:lnTo>
                  <a:lnTo>
                    <a:pt x="2856" y="4133"/>
                  </a:lnTo>
                  <a:lnTo>
                    <a:pt x="2946" y="4147"/>
                  </a:lnTo>
                  <a:lnTo>
                    <a:pt x="3038" y="4157"/>
                  </a:lnTo>
                  <a:lnTo>
                    <a:pt x="3130" y="4163"/>
                  </a:lnTo>
                  <a:lnTo>
                    <a:pt x="3220" y="4165"/>
                  </a:lnTo>
                  <a:lnTo>
                    <a:pt x="3220" y="4165"/>
                  </a:lnTo>
                  <a:lnTo>
                    <a:pt x="3320" y="4163"/>
                  </a:lnTo>
                  <a:lnTo>
                    <a:pt x="3420" y="4155"/>
                  </a:lnTo>
                  <a:lnTo>
                    <a:pt x="3520" y="4143"/>
                  </a:lnTo>
                  <a:lnTo>
                    <a:pt x="3570" y="4137"/>
                  </a:lnTo>
                  <a:lnTo>
                    <a:pt x="3620" y="4127"/>
                  </a:lnTo>
                  <a:lnTo>
                    <a:pt x="3668" y="4117"/>
                  </a:lnTo>
                  <a:lnTo>
                    <a:pt x="3718" y="4105"/>
                  </a:lnTo>
                  <a:lnTo>
                    <a:pt x="3766" y="4093"/>
                  </a:lnTo>
                  <a:lnTo>
                    <a:pt x="3814" y="4079"/>
                  </a:lnTo>
                  <a:lnTo>
                    <a:pt x="3862" y="4065"/>
                  </a:lnTo>
                  <a:lnTo>
                    <a:pt x="3910" y="4049"/>
                  </a:lnTo>
                  <a:lnTo>
                    <a:pt x="3958" y="4031"/>
                  </a:lnTo>
                  <a:lnTo>
                    <a:pt x="4006" y="4013"/>
                  </a:lnTo>
                  <a:lnTo>
                    <a:pt x="4052" y="3993"/>
                  </a:lnTo>
                  <a:lnTo>
                    <a:pt x="4098" y="3973"/>
                  </a:lnTo>
                  <a:lnTo>
                    <a:pt x="4144" y="3951"/>
                  </a:lnTo>
                  <a:lnTo>
                    <a:pt x="4190" y="3927"/>
                  </a:lnTo>
                  <a:lnTo>
                    <a:pt x="4236" y="3903"/>
                  </a:lnTo>
                  <a:lnTo>
                    <a:pt x="4280" y="3877"/>
                  </a:lnTo>
                  <a:lnTo>
                    <a:pt x="4324" y="3851"/>
                  </a:lnTo>
                  <a:lnTo>
                    <a:pt x="4368" y="3823"/>
                  </a:lnTo>
                  <a:lnTo>
                    <a:pt x="4410" y="3793"/>
                  </a:lnTo>
                  <a:lnTo>
                    <a:pt x="4454" y="3763"/>
                  </a:lnTo>
                  <a:lnTo>
                    <a:pt x="4496" y="3731"/>
                  </a:lnTo>
                  <a:lnTo>
                    <a:pt x="4536" y="3699"/>
                  </a:lnTo>
                  <a:lnTo>
                    <a:pt x="4576" y="3665"/>
                  </a:lnTo>
                  <a:lnTo>
                    <a:pt x="4616" y="3629"/>
                  </a:lnTo>
                  <a:lnTo>
                    <a:pt x="4656" y="3593"/>
                  </a:lnTo>
                  <a:lnTo>
                    <a:pt x="4694" y="3555"/>
                  </a:lnTo>
                  <a:lnTo>
                    <a:pt x="4694" y="3555"/>
                  </a:lnTo>
                  <a:lnTo>
                    <a:pt x="4730" y="3519"/>
                  </a:lnTo>
                  <a:lnTo>
                    <a:pt x="4766" y="3481"/>
                  </a:lnTo>
                  <a:lnTo>
                    <a:pt x="4800" y="3441"/>
                  </a:lnTo>
                  <a:lnTo>
                    <a:pt x="4834" y="3403"/>
                  </a:lnTo>
                  <a:lnTo>
                    <a:pt x="4866" y="3363"/>
                  </a:lnTo>
                  <a:lnTo>
                    <a:pt x="4896" y="3321"/>
                  </a:lnTo>
                  <a:lnTo>
                    <a:pt x="4928" y="3279"/>
                  </a:lnTo>
                  <a:lnTo>
                    <a:pt x="4956" y="3237"/>
                  </a:lnTo>
                  <a:lnTo>
                    <a:pt x="4984" y="3195"/>
                  </a:lnTo>
                  <a:lnTo>
                    <a:pt x="5010" y="3151"/>
                  </a:lnTo>
                  <a:lnTo>
                    <a:pt x="5036" y="3107"/>
                  </a:lnTo>
                  <a:lnTo>
                    <a:pt x="5060" y="3063"/>
                  </a:lnTo>
                  <a:lnTo>
                    <a:pt x="5084" y="3019"/>
                  </a:lnTo>
                  <a:lnTo>
                    <a:pt x="5106" y="2973"/>
                  </a:lnTo>
                  <a:lnTo>
                    <a:pt x="5128" y="2927"/>
                  </a:lnTo>
                  <a:lnTo>
                    <a:pt x="5148" y="2881"/>
                  </a:lnTo>
                  <a:lnTo>
                    <a:pt x="5166" y="2833"/>
                  </a:lnTo>
                  <a:lnTo>
                    <a:pt x="5184" y="2785"/>
                  </a:lnTo>
                  <a:lnTo>
                    <a:pt x="5200" y="2737"/>
                  </a:lnTo>
                  <a:lnTo>
                    <a:pt x="5216" y="2689"/>
                  </a:lnTo>
                  <a:lnTo>
                    <a:pt x="5230" y="2642"/>
                  </a:lnTo>
                  <a:lnTo>
                    <a:pt x="5242" y="2592"/>
                  </a:lnTo>
                  <a:lnTo>
                    <a:pt x="5254" y="2542"/>
                  </a:lnTo>
                  <a:lnTo>
                    <a:pt x="5264" y="2492"/>
                  </a:lnTo>
                  <a:lnTo>
                    <a:pt x="5274" y="2442"/>
                  </a:lnTo>
                  <a:lnTo>
                    <a:pt x="5282" y="2392"/>
                  </a:lnTo>
                  <a:lnTo>
                    <a:pt x="5290" y="2342"/>
                  </a:lnTo>
                  <a:lnTo>
                    <a:pt x="5294" y="2290"/>
                  </a:lnTo>
                  <a:lnTo>
                    <a:pt x="5300" y="2238"/>
                  </a:lnTo>
                  <a:lnTo>
                    <a:pt x="5302" y="2188"/>
                  </a:lnTo>
                  <a:lnTo>
                    <a:pt x="5304" y="2136"/>
                  </a:lnTo>
                  <a:lnTo>
                    <a:pt x="5304" y="2084"/>
                  </a:lnTo>
                  <a:lnTo>
                    <a:pt x="5304" y="2084"/>
                  </a:lnTo>
                  <a:lnTo>
                    <a:pt x="5304" y="2032"/>
                  </a:lnTo>
                  <a:lnTo>
                    <a:pt x="5302" y="1980"/>
                  </a:lnTo>
                  <a:lnTo>
                    <a:pt x="5300" y="1928"/>
                  </a:lnTo>
                  <a:lnTo>
                    <a:pt x="5294" y="1876"/>
                  </a:lnTo>
                  <a:lnTo>
                    <a:pt x="5290" y="1824"/>
                  </a:lnTo>
                  <a:lnTo>
                    <a:pt x="5282" y="1774"/>
                  </a:lnTo>
                  <a:lnTo>
                    <a:pt x="5274" y="1724"/>
                  </a:lnTo>
                  <a:lnTo>
                    <a:pt x="5264" y="1674"/>
                  </a:lnTo>
                  <a:lnTo>
                    <a:pt x="5254" y="1624"/>
                  </a:lnTo>
                  <a:lnTo>
                    <a:pt x="5242" y="1574"/>
                  </a:lnTo>
                  <a:lnTo>
                    <a:pt x="5230" y="1524"/>
                  </a:lnTo>
                  <a:lnTo>
                    <a:pt x="5216" y="1476"/>
                  </a:lnTo>
                  <a:lnTo>
                    <a:pt x="5200" y="1428"/>
                  </a:lnTo>
                  <a:lnTo>
                    <a:pt x="5184" y="1380"/>
                  </a:lnTo>
                  <a:lnTo>
                    <a:pt x="5166" y="1332"/>
                  </a:lnTo>
                  <a:lnTo>
                    <a:pt x="5148" y="1286"/>
                  </a:lnTo>
                  <a:lnTo>
                    <a:pt x="5128" y="1238"/>
                  </a:lnTo>
                  <a:lnTo>
                    <a:pt x="5106" y="1192"/>
                  </a:lnTo>
                  <a:lnTo>
                    <a:pt x="5084" y="1146"/>
                  </a:lnTo>
                  <a:lnTo>
                    <a:pt x="5060" y="1102"/>
                  </a:lnTo>
                  <a:lnTo>
                    <a:pt x="5036" y="1058"/>
                  </a:lnTo>
                  <a:lnTo>
                    <a:pt x="5010" y="1014"/>
                  </a:lnTo>
                  <a:lnTo>
                    <a:pt x="4984" y="970"/>
                  </a:lnTo>
                  <a:lnTo>
                    <a:pt x="4956" y="928"/>
                  </a:lnTo>
                  <a:lnTo>
                    <a:pt x="4928" y="886"/>
                  </a:lnTo>
                  <a:lnTo>
                    <a:pt x="4896" y="844"/>
                  </a:lnTo>
                  <a:lnTo>
                    <a:pt x="4866" y="804"/>
                  </a:lnTo>
                  <a:lnTo>
                    <a:pt x="4834" y="762"/>
                  </a:lnTo>
                  <a:lnTo>
                    <a:pt x="4800" y="724"/>
                  </a:lnTo>
                  <a:lnTo>
                    <a:pt x="4766" y="684"/>
                  </a:lnTo>
                  <a:lnTo>
                    <a:pt x="4730" y="646"/>
                  </a:lnTo>
                  <a:lnTo>
                    <a:pt x="4694" y="610"/>
                  </a:lnTo>
                  <a:lnTo>
                    <a:pt x="4694" y="610"/>
                  </a:lnTo>
                  <a:lnTo>
                    <a:pt x="4658" y="574"/>
                  </a:lnTo>
                  <a:lnTo>
                    <a:pt x="4620" y="538"/>
                  </a:lnTo>
                  <a:lnTo>
                    <a:pt x="4580" y="504"/>
                  </a:lnTo>
                  <a:lnTo>
                    <a:pt x="4540" y="470"/>
                  </a:lnTo>
                  <a:lnTo>
                    <a:pt x="4500" y="438"/>
                  </a:lnTo>
                  <a:lnTo>
                    <a:pt x="4460" y="406"/>
                  </a:lnTo>
                  <a:lnTo>
                    <a:pt x="4418" y="376"/>
                  </a:lnTo>
                  <a:lnTo>
                    <a:pt x="4376" y="348"/>
                  </a:lnTo>
                  <a:lnTo>
                    <a:pt x="4334" y="320"/>
                  </a:lnTo>
                  <a:lnTo>
                    <a:pt x="4290" y="294"/>
                  </a:lnTo>
                  <a:lnTo>
                    <a:pt x="4246" y="268"/>
                  </a:lnTo>
                  <a:lnTo>
                    <a:pt x="4202" y="244"/>
                  </a:lnTo>
                  <a:lnTo>
                    <a:pt x="4156" y="220"/>
                  </a:lnTo>
                  <a:lnTo>
                    <a:pt x="4112" y="198"/>
                  </a:lnTo>
                  <a:lnTo>
                    <a:pt x="4066" y="176"/>
                  </a:lnTo>
                  <a:lnTo>
                    <a:pt x="4018" y="156"/>
                  </a:lnTo>
                  <a:lnTo>
                    <a:pt x="3972" y="138"/>
                  </a:lnTo>
                  <a:lnTo>
                    <a:pt x="3924" y="120"/>
                  </a:lnTo>
                  <a:lnTo>
                    <a:pt x="3876" y="104"/>
                  </a:lnTo>
                  <a:lnTo>
                    <a:pt x="3828" y="88"/>
                  </a:lnTo>
                  <a:lnTo>
                    <a:pt x="3780" y="74"/>
                  </a:lnTo>
                  <a:lnTo>
                    <a:pt x="3730" y="62"/>
                  </a:lnTo>
                  <a:lnTo>
                    <a:pt x="3680" y="50"/>
                  </a:lnTo>
                  <a:lnTo>
                    <a:pt x="3630" y="40"/>
                  </a:lnTo>
                  <a:lnTo>
                    <a:pt x="3580" y="30"/>
                  </a:lnTo>
                  <a:lnTo>
                    <a:pt x="3530" y="22"/>
                  </a:lnTo>
                  <a:lnTo>
                    <a:pt x="3478" y="14"/>
                  </a:lnTo>
                  <a:lnTo>
                    <a:pt x="3428" y="10"/>
                  </a:lnTo>
                  <a:lnTo>
                    <a:pt x="3376" y="4"/>
                  </a:lnTo>
                  <a:lnTo>
                    <a:pt x="3324" y="2"/>
                  </a:lnTo>
                  <a:lnTo>
                    <a:pt x="3272" y="0"/>
                  </a:lnTo>
                  <a:lnTo>
                    <a:pt x="3220" y="0"/>
                  </a:lnTo>
                  <a:lnTo>
                    <a:pt x="3220" y="0"/>
                  </a:lnTo>
                  <a:lnTo>
                    <a:pt x="3168" y="0"/>
                  </a:lnTo>
                  <a:lnTo>
                    <a:pt x="3116" y="2"/>
                  </a:lnTo>
                  <a:lnTo>
                    <a:pt x="3066" y="4"/>
                  </a:lnTo>
                  <a:lnTo>
                    <a:pt x="3014" y="10"/>
                  </a:lnTo>
                  <a:lnTo>
                    <a:pt x="2962" y="14"/>
                  </a:lnTo>
                  <a:lnTo>
                    <a:pt x="2912" y="22"/>
                  </a:lnTo>
                  <a:lnTo>
                    <a:pt x="2862" y="30"/>
                  </a:lnTo>
                  <a:lnTo>
                    <a:pt x="2812" y="40"/>
                  </a:lnTo>
                  <a:lnTo>
                    <a:pt x="2762" y="50"/>
                  </a:lnTo>
                  <a:lnTo>
                    <a:pt x="2712" y="62"/>
                  </a:lnTo>
                  <a:lnTo>
                    <a:pt x="2662" y="74"/>
                  </a:lnTo>
                  <a:lnTo>
                    <a:pt x="2614" y="88"/>
                  </a:lnTo>
                  <a:lnTo>
                    <a:pt x="2566" y="104"/>
                  </a:lnTo>
                  <a:lnTo>
                    <a:pt x="2518" y="120"/>
                  </a:lnTo>
                  <a:lnTo>
                    <a:pt x="2470" y="138"/>
                  </a:lnTo>
                  <a:lnTo>
                    <a:pt x="2422" y="156"/>
                  </a:lnTo>
                  <a:lnTo>
                    <a:pt x="2376" y="176"/>
                  </a:lnTo>
                  <a:lnTo>
                    <a:pt x="2330" y="198"/>
                  </a:lnTo>
                  <a:lnTo>
                    <a:pt x="2284" y="220"/>
                  </a:lnTo>
                  <a:lnTo>
                    <a:pt x="2240" y="244"/>
                  </a:lnTo>
                  <a:lnTo>
                    <a:pt x="2196" y="268"/>
                  </a:lnTo>
                  <a:lnTo>
                    <a:pt x="2152" y="294"/>
                  </a:lnTo>
                  <a:lnTo>
                    <a:pt x="2108" y="320"/>
                  </a:lnTo>
                  <a:lnTo>
                    <a:pt x="2066" y="348"/>
                  </a:lnTo>
                  <a:lnTo>
                    <a:pt x="2024" y="376"/>
                  </a:lnTo>
                  <a:lnTo>
                    <a:pt x="1982" y="406"/>
                  </a:lnTo>
                  <a:lnTo>
                    <a:pt x="1940" y="438"/>
                  </a:lnTo>
                  <a:lnTo>
                    <a:pt x="1900" y="470"/>
                  </a:lnTo>
                  <a:lnTo>
                    <a:pt x="1862" y="504"/>
                  </a:lnTo>
                  <a:lnTo>
                    <a:pt x="1822" y="538"/>
                  </a:lnTo>
                  <a:lnTo>
                    <a:pt x="1784" y="574"/>
                  </a:lnTo>
                  <a:lnTo>
                    <a:pt x="1748" y="610"/>
                  </a:lnTo>
                  <a:lnTo>
                    <a:pt x="1748" y="610"/>
                  </a:lnTo>
                  <a:lnTo>
                    <a:pt x="1710" y="646"/>
                  </a:lnTo>
                  <a:lnTo>
                    <a:pt x="1676" y="684"/>
                  </a:lnTo>
                  <a:lnTo>
                    <a:pt x="1642" y="724"/>
                  </a:lnTo>
                  <a:lnTo>
                    <a:pt x="1608" y="762"/>
                  </a:lnTo>
                  <a:lnTo>
                    <a:pt x="1576" y="804"/>
                  </a:lnTo>
                  <a:lnTo>
                    <a:pt x="1544" y="844"/>
                  </a:lnTo>
                  <a:lnTo>
                    <a:pt x="1514" y="886"/>
                  </a:lnTo>
                  <a:lnTo>
                    <a:pt x="1486" y="928"/>
                  </a:lnTo>
                  <a:lnTo>
                    <a:pt x="1458" y="970"/>
                  </a:lnTo>
                  <a:lnTo>
                    <a:pt x="1432" y="1014"/>
                  </a:lnTo>
                  <a:lnTo>
                    <a:pt x="1406" y="1058"/>
                  </a:lnTo>
                  <a:lnTo>
                    <a:pt x="1382" y="1102"/>
                  </a:lnTo>
                  <a:lnTo>
                    <a:pt x="1358" y="1146"/>
                  </a:lnTo>
                  <a:lnTo>
                    <a:pt x="1336" y="1192"/>
                  </a:lnTo>
                  <a:lnTo>
                    <a:pt x="1314" y="1238"/>
                  </a:lnTo>
                  <a:lnTo>
                    <a:pt x="1294" y="1286"/>
                  </a:lnTo>
                  <a:lnTo>
                    <a:pt x="1276" y="1332"/>
                  </a:lnTo>
                  <a:lnTo>
                    <a:pt x="1258" y="1380"/>
                  </a:lnTo>
                  <a:lnTo>
                    <a:pt x="1242" y="1428"/>
                  </a:lnTo>
                  <a:lnTo>
                    <a:pt x="1226" y="1476"/>
                  </a:lnTo>
                  <a:lnTo>
                    <a:pt x="1212" y="1524"/>
                  </a:lnTo>
                  <a:lnTo>
                    <a:pt x="1200" y="1574"/>
                  </a:lnTo>
                  <a:lnTo>
                    <a:pt x="1188" y="1624"/>
                  </a:lnTo>
                  <a:lnTo>
                    <a:pt x="1176" y="1674"/>
                  </a:lnTo>
                  <a:lnTo>
                    <a:pt x="1168" y="1724"/>
                  </a:lnTo>
                  <a:lnTo>
                    <a:pt x="1160" y="1774"/>
                  </a:lnTo>
                  <a:lnTo>
                    <a:pt x="1152" y="1824"/>
                  </a:lnTo>
                  <a:lnTo>
                    <a:pt x="1146" y="1876"/>
                  </a:lnTo>
                  <a:lnTo>
                    <a:pt x="1142" y="1928"/>
                  </a:lnTo>
                  <a:lnTo>
                    <a:pt x="1140" y="1980"/>
                  </a:lnTo>
                  <a:lnTo>
                    <a:pt x="1138" y="2032"/>
                  </a:lnTo>
                  <a:lnTo>
                    <a:pt x="1136" y="2084"/>
                  </a:lnTo>
                  <a:lnTo>
                    <a:pt x="1136" y="2084"/>
                  </a:lnTo>
                  <a:lnTo>
                    <a:pt x="1138" y="2178"/>
                  </a:lnTo>
                  <a:lnTo>
                    <a:pt x="1146" y="2272"/>
                  </a:lnTo>
                  <a:lnTo>
                    <a:pt x="1156" y="2366"/>
                  </a:lnTo>
                  <a:lnTo>
                    <a:pt x="1170" y="2458"/>
                  </a:lnTo>
                  <a:lnTo>
                    <a:pt x="1188" y="2550"/>
                  </a:lnTo>
                  <a:lnTo>
                    <a:pt x="1212" y="2640"/>
                  </a:lnTo>
                  <a:lnTo>
                    <a:pt x="1238" y="2727"/>
                  </a:lnTo>
                  <a:lnTo>
                    <a:pt x="1268" y="2815"/>
                  </a:lnTo>
                  <a:lnTo>
                    <a:pt x="1304" y="2901"/>
                  </a:lnTo>
                  <a:lnTo>
                    <a:pt x="1342" y="2985"/>
                  </a:lnTo>
                  <a:lnTo>
                    <a:pt x="1384" y="3067"/>
                  </a:lnTo>
                  <a:lnTo>
                    <a:pt x="1430" y="3149"/>
                  </a:lnTo>
                  <a:lnTo>
                    <a:pt x="1480" y="3227"/>
                  </a:lnTo>
                  <a:lnTo>
                    <a:pt x="1532" y="3305"/>
                  </a:lnTo>
                  <a:lnTo>
                    <a:pt x="1590" y="3379"/>
                  </a:lnTo>
                  <a:lnTo>
                    <a:pt x="1650" y="3451"/>
                  </a:lnTo>
                  <a:lnTo>
                    <a:pt x="0" y="5101"/>
                  </a:lnTo>
                  <a:lnTo>
                    <a:pt x="202" y="5303"/>
                  </a:lnTo>
                  <a:close/>
                  <a:moveTo>
                    <a:pt x="1950" y="3353"/>
                  </a:moveTo>
                  <a:lnTo>
                    <a:pt x="1950" y="3353"/>
                  </a:lnTo>
                  <a:lnTo>
                    <a:pt x="1888" y="3291"/>
                  </a:lnTo>
                  <a:lnTo>
                    <a:pt x="1832" y="3223"/>
                  </a:lnTo>
                  <a:lnTo>
                    <a:pt x="2788" y="2907"/>
                  </a:lnTo>
                  <a:lnTo>
                    <a:pt x="2842" y="2963"/>
                  </a:lnTo>
                  <a:lnTo>
                    <a:pt x="2842" y="2963"/>
                  </a:lnTo>
                  <a:lnTo>
                    <a:pt x="2862" y="2981"/>
                  </a:lnTo>
                  <a:lnTo>
                    <a:pt x="2882" y="2999"/>
                  </a:lnTo>
                  <a:lnTo>
                    <a:pt x="2902" y="3015"/>
                  </a:lnTo>
                  <a:lnTo>
                    <a:pt x="2924" y="3031"/>
                  </a:lnTo>
                  <a:lnTo>
                    <a:pt x="2946" y="3045"/>
                  </a:lnTo>
                  <a:lnTo>
                    <a:pt x="2968" y="3059"/>
                  </a:lnTo>
                  <a:lnTo>
                    <a:pt x="2992" y="3071"/>
                  </a:lnTo>
                  <a:lnTo>
                    <a:pt x="3016" y="3081"/>
                  </a:lnTo>
                  <a:lnTo>
                    <a:pt x="3040" y="3091"/>
                  </a:lnTo>
                  <a:lnTo>
                    <a:pt x="3064" y="3099"/>
                  </a:lnTo>
                  <a:lnTo>
                    <a:pt x="3090" y="3107"/>
                  </a:lnTo>
                  <a:lnTo>
                    <a:pt x="3116" y="3111"/>
                  </a:lnTo>
                  <a:lnTo>
                    <a:pt x="3142" y="3117"/>
                  </a:lnTo>
                  <a:lnTo>
                    <a:pt x="3168" y="3119"/>
                  </a:lnTo>
                  <a:lnTo>
                    <a:pt x="3194" y="3121"/>
                  </a:lnTo>
                  <a:lnTo>
                    <a:pt x="3220" y="3123"/>
                  </a:lnTo>
                  <a:lnTo>
                    <a:pt x="3220" y="3123"/>
                  </a:lnTo>
                  <a:lnTo>
                    <a:pt x="3220" y="3123"/>
                  </a:lnTo>
                  <a:lnTo>
                    <a:pt x="3220" y="3123"/>
                  </a:lnTo>
                  <a:lnTo>
                    <a:pt x="3248" y="3121"/>
                  </a:lnTo>
                  <a:lnTo>
                    <a:pt x="3274" y="3119"/>
                  </a:lnTo>
                  <a:lnTo>
                    <a:pt x="3300" y="3117"/>
                  </a:lnTo>
                  <a:lnTo>
                    <a:pt x="3326" y="3111"/>
                  </a:lnTo>
                  <a:lnTo>
                    <a:pt x="3352" y="3107"/>
                  </a:lnTo>
                  <a:lnTo>
                    <a:pt x="3378" y="3099"/>
                  </a:lnTo>
                  <a:lnTo>
                    <a:pt x="3402" y="3091"/>
                  </a:lnTo>
                  <a:lnTo>
                    <a:pt x="3426" y="3081"/>
                  </a:lnTo>
                  <a:lnTo>
                    <a:pt x="3450" y="3071"/>
                  </a:lnTo>
                  <a:lnTo>
                    <a:pt x="3474" y="3059"/>
                  </a:lnTo>
                  <a:lnTo>
                    <a:pt x="3496" y="3045"/>
                  </a:lnTo>
                  <a:lnTo>
                    <a:pt x="3518" y="3031"/>
                  </a:lnTo>
                  <a:lnTo>
                    <a:pt x="3540" y="3015"/>
                  </a:lnTo>
                  <a:lnTo>
                    <a:pt x="3560" y="2999"/>
                  </a:lnTo>
                  <a:lnTo>
                    <a:pt x="3580" y="2981"/>
                  </a:lnTo>
                  <a:lnTo>
                    <a:pt x="3600" y="2963"/>
                  </a:lnTo>
                  <a:lnTo>
                    <a:pt x="3654" y="2907"/>
                  </a:lnTo>
                  <a:lnTo>
                    <a:pt x="4610" y="3223"/>
                  </a:lnTo>
                  <a:lnTo>
                    <a:pt x="4610" y="3223"/>
                  </a:lnTo>
                  <a:lnTo>
                    <a:pt x="4554" y="3291"/>
                  </a:lnTo>
                  <a:lnTo>
                    <a:pt x="4492" y="3353"/>
                  </a:lnTo>
                  <a:lnTo>
                    <a:pt x="4492" y="3353"/>
                  </a:lnTo>
                  <a:lnTo>
                    <a:pt x="4426" y="3417"/>
                  </a:lnTo>
                  <a:lnTo>
                    <a:pt x="4356" y="3477"/>
                  </a:lnTo>
                  <a:lnTo>
                    <a:pt x="4284" y="3533"/>
                  </a:lnTo>
                  <a:lnTo>
                    <a:pt x="4210" y="3583"/>
                  </a:lnTo>
                  <a:lnTo>
                    <a:pt x="4136" y="3631"/>
                  </a:lnTo>
                  <a:lnTo>
                    <a:pt x="4058" y="3675"/>
                  </a:lnTo>
                  <a:lnTo>
                    <a:pt x="3978" y="3713"/>
                  </a:lnTo>
                  <a:lnTo>
                    <a:pt x="3898" y="3749"/>
                  </a:lnTo>
                  <a:lnTo>
                    <a:pt x="3816" y="3779"/>
                  </a:lnTo>
                  <a:lnTo>
                    <a:pt x="3734" y="3805"/>
                  </a:lnTo>
                  <a:lnTo>
                    <a:pt x="3650" y="3829"/>
                  </a:lnTo>
                  <a:lnTo>
                    <a:pt x="3564" y="3847"/>
                  </a:lnTo>
                  <a:lnTo>
                    <a:pt x="3480" y="3861"/>
                  </a:lnTo>
                  <a:lnTo>
                    <a:pt x="3394" y="3871"/>
                  </a:lnTo>
                  <a:lnTo>
                    <a:pt x="3308" y="3877"/>
                  </a:lnTo>
                  <a:lnTo>
                    <a:pt x="3220" y="3879"/>
                  </a:lnTo>
                  <a:lnTo>
                    <a:pt x="3134" y="3877"/>
                  </a:lnTo>
                  <a:lnTo>
                    <a:pt x="3048" y="3871"/>
                  </a:lnTo>
                  <a:lnTo>
                    <a:pt x="2962" y="3861"/>
                  </a:lnTo>
                  <a:lnTo>
                    <a:pt x="2878" y="3847"/>
                  </a:lnTo>
                  <a:lnTo>
                    <a:pt x="2792" y="3829"/>
                  </a:lnTo>
                  <a:lnTo>
                    <a:pt x="2708" y="3805"/>
                  </a:lnTo>
                  <a:lnTo>
                    <a:pt x="2626" y="3779"/>
                  </a:lnTo>
                  <a:lnTo>
                    <a:pt x="2544" y="3749"/>
                  </a:lnTo>
                  <a:lnTo>
                    <a:pt x="2464" y="3713"/>
                  </a:lnTo>
                  <a:lnTo>
                    <a:pt x="2384" y="3675"/>
                  </a:lnTo>
                  <a:lnTo>
                    <a:pt x="2306" y="3631"/>
                  </a:lnTo>
                  <a:lnTo>
                    <a:pt x="2230" y="3583"/>
                  </a:lnTo>
                  <a:lnTo>
                    <a:pt x="2158" y="3533"/>
                  </a:lnTo>
                  <a:lnTo>
                    <a:pt x="2086" y="3477"/>
                  </a:lnTo>
                  <a:lnTo>
                    <a:pt x="2016" y="3417"/>
                  </a:lnTo>
                  <a:lnTo>
                    <a:pt x="1950" y="3353"/>
                  </a:lnTo>
                  <a:lnTo>
                    <a:pt x="1950" y="3353"/>
                  </a:lnTo>
                  <a:close/>
                  <a:moveTo>
                    <a:pt x="1950" y="812"/>
                  </a:moveTo>
                  <a:lnTo>
                    <a:pt x="1950" y="812"/>
                  </a:lnTo>
                  <a:lnTo>
                    <a:pt x="2014" y="750"/>
                  </a:lnTo>
                  <a:lnTo>
                    <a:pt x="2082" y="692"/>
                  </a:lnTo>
                  <a:lnTo>
                    <a:pt x="2152" y="636"/>
                  </a:lnTo>
                  <a:lnTo>
                    <a:pt x="2224" y="586"/>
                  </a:lnTo>
                  <a:lnTo>
                    <a:pt x="2298" y="538"/>
                  </a:lnTo>
                  <a:lnTo>
                    <a:pt x="2374" y="496"/>
                  </a:lnTo>
                  <a:lnTo>
                    <a:pt x="2452" y="456"/>
                  </a:lnTo>
                  <a:lnTo>
                    <a:pt x="2532" y="420"/>
                  </a:lnTo>
                  <a:lnTo>
                    <a:pt x="2614" y="390"/>
                  </a:lnTo>
                  <a:lnTo>
                    <a:pt x="2696" y="362"/>
                  </a:lnTo>
                  <a:lnTo>
                    <a:pt x="2782" y="338"/>
                  </a:lnTo>
                  <a:lnTo>
                    <a:pt x="2868" y="320"/>
                  </a:lnTo>
                  <a:lnTo>
                    <a:pt x="2954" y="304"/>
                  </a:lnTo>
                  <a:lnTo>
                    <a:pt x="3042" y="294"/>
                  </a:lnTo>
                  <a:lnTo>
                    <a:pt x="3132" y="286"/>
                  </a:lnTo>
                  <a:lnTo>
                    <a:pt x="3220" y="284"/>
                  </a:lnTo>
                  <a:lnTo>
                    <a:pt x="3220" y="284"/>
                  </a:lnTo>
                  <a:lnTo>
                    <a:pt x="3310" y="286"/>
                  </a:lnTo>
                  <a:lnTo>
                    <a:pt x="3400" y="294"/>
                  </a:lnTo>
                  <a:lnTo>
                    <a:pt x="3488" y="304"/>
                  </a:lnTo>
                  <a:lnTo>
                    <a:pt x="3574" y="320"/>
                  </a:lnTo>
                  <a:lnTo>
                    <a:pt x="3660" y="338"/>
                  </a:lnTo>
                  <a:lnTo>
                    <a:pt x="3744" y="362"/>
                  </a:lnTo>
                  <a:lnTo>
                    <a:pt x="3828" y="390"/>
                  </a:lnTo>
                  <a:lnTo>
                    <a:pt x="3910" y="420"/>
                  </a:lnTo>
                  <a:lnTo>
                    <a:pt x="3990" y="456"/>
                  </a:lnTo>
                  <a:lnTo>
                    <a:pt x="4068" y="496"/>
                  </a:lnTo>
                  <a:lnTo>
                    <a:pt x="4144" y="538"/>
                  </a:lnTo>
                  <a:lnTo>
                    <a:pt x="4218" y="586"/>
                  </a:lnTo>
                  <a:lnTo>
                    <a:pt x="4290" y="636"/>
                  </a:lnTo>
                  <a:lnTo>
                    <a:pt x="4360" y="692"/>
                  </a:lnTo>
                  <a:lnTo>
                    <a:pt x="4428" y="750"/>
                  </a:lnTo>
                  <a:lnTo>
                    <a:pt x="4492" y="812"/>
                  </a:lnTo>
                  <a:lnTo>
                    <a:pt x="4492" y="812"/>
                  </a:lnTo>
                  <a:lnTo>
                    <a:pt x="4554" y="876"/>
                  </a:lnTo>
                  <a:lnTo>
                    <a:pt x="4612" y="944"/>
                  </a:lnTo>
                  <a:lnTo>
                    <a:pt x="4668" y="1014"/>
                  </a:lnTo>
                  <a:lnTo>
                    <a:pt x="4718" y="1086"/>
                  </a:lnTo>
                  <a:lnTo>
                    <a:pt x="4766" y="1160"/>
                  </a:lnTo>
                  <a:lnTo>
                    <a:pt x="4808" y="1236"/>
                  </a:lnTo>
                  <a:lnTo>
                    <a:pt x="4848" y="1314"/>
                  </a:lnTo>
                  <a:lnTo>
                    <a:pt x="4884" y="1394"/>
                  </a:lnTo>
                  <a:lnTo>
                    <a:pt x="4914" y="1476"/>
                  </a:lnTo>
                  <a:lnTo>
                    <a:pt x="4942" y="1560"/>
                  </a:lnTo>
                  <a:lnTo>
                    <a:pt x="4966" y="1644"/>
                  </a:lnTo>
                  <a:lnTo>
                    <a:pt x="4984" y="1730"/>
                  </a:lnTo>
                  <a:lnTo>
                    <a:pt x="5000" y="1816"/>
                  </a:lnTo>
                  <a:lnTo>
                    <a:pt x="5010" y="1904"/>
                  </a:lnTo>
                  <a:lnTo>
                    <a:pt x="5018" y="1994"/>
                  </a:lnTo>
                  <a:lnTo>
                    <a:pt x="5020" y="2084"/>
                  </a:lnTo>
                  <a:lnTo>
                    <a:pt x="5020" y="2084"/>
                  </a:lnTo>
                  <a:lnTo>
                    <a:pt x="5018" y="2142"/>
                  </a:lnTo>
                  <a:lnTo>
                    <a:pt x="5016" y="2202"/>
                  </a:lnTo>
                  <a:lnTo>
                    <a:pt x="5010" y="2262"/>
                  </a:lnTo>
                  <a:lnTo>
                    <a:pt x="5004" y="2320"/>
                  </a:lnTo>
                  <a:lnTo>
                    <a:pt x="4994" y="2378"/>
                  </a:lnTo>
                  <a:lnTo>
                    <a:pt x="4984" y="2436"/>
                  </a:lnTo>
                  <a:lnTo>
                    <a:pt x="4972" y="2494"/>
                  </a:lnTo>
                  <a:lnTo>
                    <a:pt x="4958" y="2550"/>
                  </a:lnTo>
                  <a:lnTo>
                    <a:pt x="4942" y="2606"/>
                  </a:lnTo>
                  <a:lnTo>
                    <a:pt x="4924" y="2662"/>
                  </a:lnTo>
                  <a:lnTo>
                    <a:pt x="4904" y="2715"/>
                  </a:lnTo>
                  <a:lnTo>
                    <a:pt x="4882" y="2769"/>
                  </a:lnTo>
                  <a:lnTo>
                    <a:pt x="4858" y="2823"/>
                  </a:lnTo>
                  <a:lnTo>
                    <a:pt x="4834" y="2875"/>
                  </a:lnTo>
                  <a:lnTo>
                    <a:pt x="4808" y="2927"/>
                  </a:lnTo>
                  <a:lnTo>
                    <a:pt x="4778" y="2979"/>
                  </a:lnTo>
                  <a:lnTo>
                    <a:pt x="3740" y="2634"/>
                  </a:lnTo>
                  <a:lnTo>
                    <a:pt x="3740" y="2634"/>
                  </a:lnTo>
                  <a:lnTo>
                    <a:pt x="3720" y="2630"/>
                  </a:lnTo>
                  <a:lnTo>
                    <a:pt x="3702" y="2624"/>
                  </a:lnTo>
                  <a:lnTo>
                    <a:pt x="3682" y="2622"/>
                  </a:lnTo>
                  <a:lnTo>
                    <a:pt x="3662" y="2620"/>
                  </a:lnTo>
                  <a:lnTo>
                    <a:pt x="3644" y="2620"/>
                  </a:lnTo>
                  <a:lnTo>
                    <a:pt x="3624" y="2622"/>
                  </a:lnTo>
                  <a:lnTo>
                    <a:pt x="3606" y="2624"/>
                  </a:lnTo>
                  <a:lnTo>
                    <a:pt x="3586" y="2628"/>
                  </a:lnTo>
                  <a:lnTo>
                    <a:pt x="3568" y="2634"/>
                  </a:lnTo>
                  <a:lnTo>
                    <a:pt x="3550" y="2640"/>
                  </a:lnTo>
                  <a:lnTo>
                    <a:pt x="3532" y="2648"/>
                  </a:lnTo>
                  <a:lnTo>
                    <a:pt x="3516" y="2656"/>
                  </a:lnTo>
                  <a:lnTo>
                    <a:pt x="3498" y="2666"/>
                  </a:lnTo>
                  <a:lnTo>
                    <a:pt x="3484" y="2677"/>
                  </a:lnTo>
                  <a:lnTo>
                    <a:pt x="3468" y="2689"/>
                  </a:lnTo>
                  <a:lnTo>
                    <a:pt x="3454" y="2703"/>
                  </a:lnTo>
                  <a:lnTo>
                    <a:pt x="3394" y="2763"/>
                  </a:lnTo>
                  <a:lnTo>
                    <a:pt x="3394" y="2763"/>
                  </a:lnTo>
                  <a:lnTo>
                    <a:pt x="3376" y="2779"/>
                  </a:lnTo>
                  <a:lnTo>
                    <a:pt x="3358" y="2795"/>
                  </a:lnTo>
                  <a:lnTo>
                    <a:pt x="3336" y="2807"/>
                  </a:lnTo>
                  <a:lnTo>
                    <a:pt x="3314" y="2817"/>
                  </a:lnTo>
                  <a:lnTo>
                    <a:pt x="3292" y="2825"/>
                  </a:lnTo>
                  <a:lnTo>
                    <a:pt x="3268" y="2829"/>
                  </a:lnTo>
                  <a:lnTo>
                    <a:pt x="3244" y="2833"/>
                  </a:lnTo>
                  <a:lnTo>
                    <a:pt x="3220" y="2835"/>
                  </a:lnTo>
                  <a:lnTo>
                    <a:pt x="3196" y="2833"/>
                  </a:lnTo>
                  <a:lnTo>
                    <a:pt x="3174" y="2829"/>
                  </a:lnTo>
                  <a:lnTo>
                    <a:pt x="3150" y="2825"/>
                  </a:lnTo>
                  <a:lnTo>
                    <a:pt x="3128" y="2817"/>
                  </a:lnTo>
                  <a:lnTo>
                    <a:pt x="3106" y="2807"/>
                  </a:lnTo>
                  <a:lnTo>
                    <a:pt x="3084" y="2795"/>
                  </a:lnTo>
                  <a:lnTo>
                    <a:pt x="3066" y="2779"/>
                  </a:lnTo>
                  <a:lnTo>
                    <a:pt x="3048" y="2763"/>
                  </a:lnTo>
                  <a:lnTo>
                    <a:pt x="2988" y="2703"/>
                  </a:lnTo>
                  <a:lnTo>
                    <a:pt x="2988" y="2703"/>
                  </a:lnTo>
                  <a:lnTo>
                    <a:pt x="2974" y="2689"/>
                  </a:lnTo>
                  <a:lnTo>
                    <a:pt x="2958" y="2677"/>
                  </a:lnTo>
                  <a:lnTo>
                    <a:pt x="2942" y="2666"/>
                  </a:lnTo>
                  <a:lnTo>
                    <a:pt x="2926" y="2656"/>
                  </a:lnTo>
                  <a:lnTo>
                    <a:pt x="2910" y="2648"/>
                  </a:lnTo>
                  <a:lnTo>
                    <a:pt x="2892" y="2640"/>
                  </a:lnTo>
                  <a:lnTo>
                    <a:pt x="2874" y="2634"/>
                  </a:lnTo>
                  <a:lnTo>
                    <a:pt x="2856" y="2628"/>
                  </a:lnTo>
                  <a:lnTo>
                    <a:pt x="2836" y="2624"/>
                  </a:lnTo>
                  <a:lnTo>
                    <a:pt x="2818" y="2622"/>
                  </a:lnTo>
                  <a:lnTo>
                    <a:pt x="2798" y="2620"/>
                  </a:lnTo>
                  <a:lnTo>
                    <a:pt x="2780" y="2620"/>
                  </a:lnTo>
                  <a:lnTo>
                    <a:pt x="2760" y="2622"/>
                  </a:lnTo>
                  <a:lnTo>
                    <a:pt x="2740" y="2624"/>
                  </a:lnTo>
                  <a:lnTo>
                    <a:pt x="2722" y="2628"/>
                  </a:lnTo>
                  <a:lnTo>
                    <a:pt x="2704" y="2634"/>
                  </a:lnTo>
                  <a:lnTo>
                    <a:pt x="1664" y="2979"/>
                  </a:lnTo>
                  <a:lnTo>
                    <a:pt x="1664" y="2979"/>
                  </a:lnTo>
                  <a:lnTo>
                    <a:pt x="1634" y="2927"/>
                  </a:lnTo>
                  <a:lnTo>
                    <a:pt x="1608" y="2875"/>
                  </a:lnTo>
                  <a:lnTo>
                    <a:pt x="1582" y="2823"/>
                  </a:lnTo>
                  <a:lnTo>
                    <a:pt x="1560" y="2769"/>
                  </a:lnTo>
                  <a:lnTo>
                    <a:pt x="1538" y="2715"/>
                  </a:lnTo>
                  <a:lnTo>
                    <a:pt x="1518" y="2662"/>
                  </a:lnTo>
                  <a:lnTo>
                    <a:pt x="1500" y="2606"/>
                  </a:lnTo>
                  <a:lnTo>
                    <a:pt x="1484" y="2550"/>
                  </a:lnTo>
                  <a:lnTo>
                    <a:pt x="1470" y="2494"/>
                  </a:lnTo>
                  <a:lnTo>
                    <a:pt x="1458" y="2436"/>
                  </a:lnTo>
                  <a:lnTo>
                    <a:pt x="1446" y="2378"/>
                  </a:lnTo>
                  <a:lnTo>
                    <a:pt x="1438" y="2320"/>
                  </a:lnTo>
                  <a:lnTo>
                    <a:pt x="1432" y="2262"/>
                  </a:lnTo>
                  <a:lnTo>
                    <a:pt x="1426" y="2202"/>
                  </a:lnTo>
                  <a:lnTo>
                    <a:pt x="1424" y="2142"/>
                  </a:lnTo>
                  <a:lnTo>
                    <a:pt x="1422" y="2084"/>
                  </a:lnTo>
                  <a:lnTo>
                    <a:pt x="1422" y="2084"/>
                  </a:lnTo>
                  <a:lnTo>
                    <a:pt x="1424" y="1994"/>
                  </a:lnTo>
                  <a:lnTo>
                    <a:pt x="1430" y="1904"/>
                  </a:lnTo>
                  <a:lnTo>
                    <a:pt x="1442" y="1816"/>
                  </a:lnTo>
                  <a:lnTo>
                    <a:pt x="1456" y="1730"/>
                  </a:lnTo>
                  <a:lnTo>
                    <a:pt x="1476" y="1644"/>
                  </a:lnTo>
                  <a:lnTo>
                    <a:pt x="1500" y="1560"/>
                  </a:lnTo>
                  <a:lnTo>
                    <a:pt x="1526" y="1476"/>
                  </a:lnTo>
                  <a:lnTo>
                    <a:pt x="1558" y="1394"/>
                  </a:lnTo>
                  <a:lnTo>
                    <a:pt x="1594" y="1314"/>
                  </a:lnTo>
                  <a:lnTo>
                    <a:pt x="1634" y="1236"/>
                  </a:lnTo>
                  <a:lnTo>
                    <a:pt x="1676" y="1160"/>
                  </a:lnTo>
                  <a:lnTo>
                    <a:pt x="1724" y="1086"/>
                  </a:lnTo>
                  <a:lnTo>
                    <a:pt x="1774" y="1014"/>
                  </a:lnTo>
                  <a:lnTo>
                    <a:pt x="1828" y="944"/>
                  </a:lnTo>
                  <a:lnTo>
                    <a:pt x="1888" y="876"/>
                  </a:lnTo>
                  <a:lnTo>
                    <a:pt x="1950" y="812"/>
                  </a:lnTo>
                  <a:lnTo>
                    <a:pt x="1950" y="812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8625" tIns="29300" rIns="58625" bIns="293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endPara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8" name="Google Shape;548;p57"/>
            <p:cNvSpPr/>
            <p:nvPr/>
          </p:nvSpPr>
          <p:spPr>
            <a:xfrm>
              <a:off x="4671185" y="2414927"/>
              <a:ext cx="154432" cy="208848"/>
            </a:xfrm>
            <a:custGeom>
              <a:avLst/>
              <a:gdLst/>
              <a:ahLst/>
              <a:cxnLst/>
              <a:rect l="l" t="t" r="r" b="b"/>
              <a:pathLst>
                <a:path w="1436" h="1942" extrusionOk="0">
                  <a:moveTo>
                    <a:pt x="718" y="1942"/>
                  </a:moveTo>
                  <a:lnTo>
                    <a:pt x="718" y="1942"/>
                  </a:lnTo>
                  <a:lnTo>
                    <a:pt x="760" y="1942"/>
                  </a:lnTo>
                  <a:lnTo>
                    <a:pt x="798" y="1938"/>
                  </a:lnTo>
                  <a:lnTo>
                    <a:pt x="836" y="1930"/>
                  </a:lnTo>
                  <a:lnTo>
                    <a:pt x="870" y="1922"/>
                  </a:lnTo>
                  <a:lnTo>
                    <a:pt x="904" y="1910"/>
                  </a:lnTo>
                  <a:lnTo>
                    <a:pt x="936" y="1896"/>
                  </a:lnTo>
                  <a:lnTo>
                    <a:pt x="966" y="1882"/>
                  </a:lnTo>
                  <a:lnTo>
                    <a:pt x="994" y="1864"/>
                  </a:lnTo>
                  <a:lnTo>
                    <a:pt x="1022" y="1846"/>
                  </a:lnTo>
                  <a:lnTo>
                    <a:pt x="1050" y="1824"/>
                  </a:lnTo>
                  <a:lnTo>
                    <a:pt x="1076" y="1802"/>
                  </a:lnTo>
                  <a:lnTo>
                    <a:pt x="1102" y="1780"/>
                  </a:lnTo>
                  <a:lnTo>
                    <a:pt x="1150" y="1730"/>
                  </a:lnTo>
                  <a:lnTo>
                    <a:pt x="1200" y="1676"/>
                  </a:lnTo>
                  <a:lnTo>
                    <a:pt x="1200" y="1676"/>
                  </a:lnTo>
                  <a:lnTo>
                    <a:pt x="1228" y="1642"/>
                  </a:lnTo>
                  <a:lnTo>
                    <a:pt x="1256" y="1604"/>
                  </a:lnTo>
                  <a:lnTo>
                    <a:pt x="1280" y="1564"/>
                  </a:lnTo>
                  <a:lnTo>
                    <a:pt x="1304" y="1522"/>
                  </a:lnTo>
                  <a:lnTo>
                    <a:pt x="1324" y="1476"/>
                  </a:lnTo>
                  <a:lnTo>
                    <a:pt x="1344" y="1426"/>
                  </a:lnTo>
                  <a:lnTo>
                    <a:pt x="1362" y="1374"/>
                  </a:lnTo>
                  <a:lnTo>
                    <a:pt x="1378" y="1320"/>
                  </a:lnTo>
                  <a:lnTo>
                    <a:pt x="1392" y="1264"/>
                  </a:lnTo>
                  <a:lnTo>
                    <a:pt x="1404" y="1204"/>
                  </a:lnTo>
                  <a:lnTo>
                    <a:pt x="1414" y="1140"/>
                  </a:lnTo>
                  <a:lnTo>
                    <a:pt x="1422" y="1076"/>
                  </a:lnTo>
                  <a:lnTo>
                    <a:pt x="1428" y="1006"/>
                  </a:lnTo>
                  <a:lnTo>
                    <a:pt x="1434" y="936"/>
                  </a:lnTo>
                  <a:lnTo>
                    <a:pt x="1436" y="862"/>
                  </a:lnTo>
                  <a:lnTo>
                    <a:pt x="1436" y="786"/>
                  </a:lnTo>
                  <a:lnTo>
                    <a:pt x="1436" y="786"/>
                  </a:lnTo>
                  <a:lnTo>
                    <a:pt x="1436" y="746"/>
                  </a:lnTo>
                  <a:lnTo>
                    <a:pt x="1434" y="706"/>
                  </a:lnTo>
                  <a:lnTo>
                    <a:pt x="1428" y="666"/>
                  </a:lnTo>
                  <a:lnTo>
                    <a:pt x="1422" y="628"/>
                  </a:lnTo>
                  <a:lnTo>
                    <a:pt x="1414" y="590"/>
                  </a:lnTo>
                  <a:lnTo>
                    <a:pt x="1404" y="552"/>
                  </a:lnTo>
                  <a:lnTo>
                    <a:pt x="1394" y="516"/>
                  </a:lnTo>
                  <a:lnTo>
                    <a:pt x="1380" y="480"/>
                  </a:lnTo>
                  <a:lnTo>
                    <a:pt x="1366" y="444"/>
                  </a:lnTo>
                  <a:lnTo>
                    <a:pt x="1350" y="412"/>
                  </a:lnTo>
                  <a:lnTo>
                    <a:pt x="1332" y="378"/>
                  </a:lnTo>
                  <a:lnTo>
                    <a:pt x="1314" y="346"/>
                  </a:lnTo>
                  <a:lnTo>
                    <a:pt x="1294" y="316"/>
                  </a:lnTo>
                  <a:lnTo>
                    <a:pt x="1272" y="286"/>
                  </a:lnTo>
                  <a:lnTo>
                    <a:pt x="1250" y="258"/>
                  </a:lnTo>
                  <a:lnTo>
                    <a:pt x="1226" y="230"/>
                  </a:lnTo>
                  <a:lnTo>
                    <a:pt x="1202" y="204"/>
                  </a:lnTo>
                  <a:lnTo>
                    <a:pt x="1176" y="178"/>
                  </a:lnTo>
                  <a:lnTo>
                    <a:pt x="1148" y="156"/>
                  </a:lnTo>
                  <a:lnTo>
                    <a:pt x="1120" y="134"/>
                  </a:lnTo>
                  <a:lnTo>
                    <a:pt x="1090" y="114"/>
                  </a:lnTo>
                  <a:lnTo>
                    <a:pt x="1060" y="94"/>
                  </a:lnTo>
                  <a:lnTo>
                    <a:pt x="1030" y="76"/>
                  </a:lnTo>
                  <a:lnTo>
                    <a:pt x="998" y="60"/>
                  </a:lnTo>
                  <a:lnTo>
                    <a:pt x="966" y="46"/>
                  </a:lnTo>
                  <a:lnTo>
                    <a:pt x="932" y="34"/>
                  </a:lnTo>
                  <a:lnTo>
                    <a:pt x="898" y="24"/>
                  </a:lnTo>
                  <a:lnTo>
                    <a:pt x="864" y="16"/>
                  </a:lnTo>
                  <a:lnTo>
                    <a:pt x="828" y="8"/>
                  </a:lnTo>
                  <a:lnTo>
                    <a:pt x="792" y="4"/>
                  </a:lnTo>
                  <a:lnTo>
                    <a:pt x="756" y="0"/>
                  </a:lnTo>
                  <a:lnTo>
                    <a:pt x="718" y="0"/>
                  </a:lnTo>
                  <a:lnTo>
                    <a:pt x="718" y="0"/>
                  </a:lnTo>
                  <a:lnTo>
                    <a:pt x="682" y="0"/>
                  </a:lnTo>
                  <a:lnTo>
                    <a:pt x="646" y="4"/>
                  </a:lnTo>
                  <a:lnTo>
                    <a:pt x="610" y="8"/>
                  </a:lnTo>
                  <a:lnTo>
                    <a:pt x="574" y="16"/>
                  </a:lnTo>
                  <a:lnTo>
                    <a:pt x="540" y="24"/>
                  </a:lnTo>
                  <a:lnTo>
                    <a:pt x="506" y="34"/>
                  </a:lnTo>
                  <a:lnTo>
                    <a:pt x="472" y="46"/>
                  </a:lnTo>
                  <a:lnTo>
                    <a:pt x="440" y="60"/>
                  </a:lnTo>
                  <a:lnTo>
                    <a:pt x="408" y="76"/>
                  </a:lnTo>
                  <a:lnTo>
                    <a:pt x="376" y="94"/>
                  </a:lnTo>
                  <a:lnTo>
                    <a:pt x="346" y="114"/>
                  </a:lnTo>
                  <a:lnTo>
                    <a:pt x="318" y="134"/>
                  </a:lnTo>
                  <a:lnTo>
                    <a:pt x="290" y="156"/>
                  </a:lnTo>
                  <a:lnTo>
                    <a:pt x="262" y="178"/>
                  </a:lnTo>
                  <a:lnTo>
                    <a:pt x="236" y="204"/>
                  </a:lnTo>
                  <a:lnTo>
                    <a:pt x="212" y="230"/>
                  </a:lnTo>
                  <a:lnTo>
                    <a:pt x="188" y="258"/>
                  </a:lnTo>
                  <a:lnTo>
                    <a:pt x="166" y="286"/>
                  </a:lnTo>
                  <a:lnTo>
                    <a:pt x="144" y="316"/>
                  </a:lnTo>
                  <a:lnTo>
                    <a:pt x="124" y="346"/>
                  </a:lnTo>
                  <a:lnTo>
                    <a:pt x="104" y="378"/>
                  </a:lnTo>
                  <a:lnTo>
                    <a:pt x="88" y="412"/>
                  </a:lnTo>
                  <a:lnTo>
                    <a:pt x="72" y="444"/>
                  </a:lnTo>
                  <a:lnTo>
                    <a:pt x="58" y="480"/>
                  </a:lnTo>
                  <a:lnTo>
                    <a:pt x="44" y="516"/>
                  </a:lnTo>
                  <a:lnTo>
                    <a:pt x="34" y="552"/>
                  </a:lnTo>
                  <a:lnTo>
                    <a:pt x="24" y="590"/>
                  </a:lnTo>
                  <a:lnTo>
                    <a:pt x="16" y="628"/>
                  </a:lnTo>
                  <a:lnTo>
                    <a:pt x="10" y="666"/>
                  </a:lnTo>
                  <a:lnTo>
                    <a:pt x="4" y="706"/>
                  </a:lnTo>
                  <a:lnTo>
                    <a:pt x="2" y="746"/>
                  </a:lnTo>
                  <a:lnTo>
                    <a:pt x="0" y="786"/>
                  </a:lnTo>
                  <a:lnTo>
                    <a:pt x="0" y="786"/>
                  </a:lnTo>
                  <a:lnTo>
                    <a:pt x="2" y="862"/>
                  </a:lnTo>
                  <a:lnTo>
                    <a:pt x="4" y="936"/>
                  </a:lnTo>
                  <a:lnTo>
                    <a:pt x="10" y="1006"/>
                  </a:lnTo>
                  <a:lnTo>
                    <a:pt x="16" y="1076"/>
                  </a:lnTo>
                  <a:lnTo>
                    <a:pt x="24" y="1140"/>
                  </a:lnTo>
                  <a:lnTo>
                    <a:pt x="34" y="1204"/>
                  </a:lnTo>
                  <a:lnTo>
                    <a:pt x="46" y="1264"/>
                  </a:lnTo>
                  <a:lnTo>
                    <a:pt x="60" y="1320"/>
                  </a:lnTo>
                  <a:lnTo>
                    <a:pt x="76" y="1374"/>
                  </a:lnTo>
                  <a:lnTo>
                    <a:pt x="94" y="1426"/>
                  </a:lnTo>
                  <a:lnTo>
                    <a:pt x="114" y="1476"/>
                  </a:lnTo>
                  <a:lnTo>
                    <a:pt x="134" y="1522"/>
                  </a:lnTo>
                  <a:lnTo>
                    <a:pt x="158" y="1564"/>
                  </a:lnTo>
                  <a:lnTo>
                    <a:pt x="182" y="1604"/>
                  </a:lnTo>
                  <a:lnTo>
                    <a:pt x="210" y="1642"/>
                  </a:lnTo>
                  <a:lnTo>
                    <a:pt x="238" y="1676"/>
                  </a:lnTo>
                  <a:lnTo>
                    <a:pt x="238" y="1676"/>
                  </a:lnTo>
                  <a:lnTo>
                    <a:pt x="286" y="1730"/>
                  </a:lnTo>
                  <a:lnTo>
                    <a:pt x="336" y="1780"/>
                  </a:lnTo>
                  <a:lnTo>
                    <a:pt x="362" y="1802"/>
                  </a:lnTo>
                  <a:lnTo>
                    <a:pt x="388" y="1824"/>
                  </a:lnTo>
                  <a:lnTo>
                    <a:pt x="416" y="1846"/>
                  </a:lnTo>
                  <a:lnTo>
                    <a:pt x="442" y="1864"/>
                  </a:lnTo>
                  <a:lnTo>
                    <a:pt x="472" y="1882"/>
                  </a:lnTo>
                  <a:lnTo>
                    <a:pt x="502" y="1896"/>
                  </a:lnTo>
                  <a:lnTo>
                    <a:pt x="534" y="1910"/>
                  </a:lnTo>
                  <a:lnTo>
                    <a:pt x="568" y="1922"/>
                  </a:lnTo>
                  <a:lnTo>
                    <a:pt x="602" y="1930"/>
                  </a:lnTo>
                  <a:lnTo>
                    <a:pt x="638" y="1938"/>
                  </a:lnTo>
                  <a:lnTo>
                    <a:pt x="678" y="1942"/>
                  </a:lnTo>
                  <a:lnTo>
                    <a:pt x="718" y="1942"/>
                  </a:lnTo>
                  <a:lnTo>
                    <a:pt x="718" y="1942"/>
                  </a:lnTo>
                  <a:close/>
                  <a:moveTo>
                    <a:pt x="718" y="284"/>
                  </a:moveTo>
                  <a:lnTo>
                    <a:pt x="718" y="284"/>
                  </a:lnTo>
                  <a:lnTo>
                    <a:pt x="742" y="286"/>
                  </a:lnTo>
                  <a:lnTo>
                    <a:pt x="762" y="288"/>
                  </a:lnTo>
                  <a:lnTo>
                    <a:pt x="784" y="290"/>
                  </a:lnTo>
                  <a:lnTo>
                    <a:pt x="806" y="294"/>
                  </a:lnTo>
                  <a:lnTo>
                    <a:pt x="826" y="300"/>
                  </a:lnTo>
                  <a:lnTo>
                    <a:pt x="848" y="308"/>
                  </a:lnTo>
                  <a:lnTo>
                    <a:pt x="886" y="324"/>
                  </a:lnTo>
                  <a:lnTo>
                    <a:pt x="924" y="346"/>
                  </a:lnTo>
                  <a:lnTo>
                    <a:pt x="960" y="370"/>
                  </a:lnTo>
                  <a:lnTo>
                    <a:pt x="994" y="400"/>
                  </a:lnTo>
                  <a:lnTo>
                    <a:pt x="1024" y="432"/>
                  </a:lnTo>
                  <a:lnTo>
                    <a:pt x="1052" y="468"/>
                  </a:lnTo>
                  <a:lnTo>
                    <a:pt x="1078" y="506"/>
                  </a:lnTo>
                  <a:lnTo>
                    <a:pt x="1098" y="548"/>
                  </a:lnTo>
                  <a:lnTo>
                    <a:pt x="1118" y="590"/>
                  </a:lnTo>
                  <a:lnTo>
                    <a:pt x="1132" y="636"/>
                  </a:lnTo>
                  <a:lnTo>
                    <a:pt x="1142" y="684"/>
                  </a:lnTo>
                  <a:lnTo>
                    <a:pt x="1148" y="734"/>
                  </a:lnTo>
                  <a:lnTo>
                    <a:pt x="1152" y="786"/>
                  </a:lnTo>
                  <a:lnTo>
                    <a:pt x="1152" y="786"/>
                  </a:lnTo>
                  <a:lnTo>
                    <a:pt x="1150" y="848"/>
                  </a:lnTo>
                  <a:lnTo>
                    <a:pt x="1148" y="906"/>
                  </a:lnTo>
                  <a:lnTo>
                    <a:pt x="1146" y="964"/>
                  </a:lnTo>
                  <a:lnTo>
                    <a:pt x="1140" y="1018"/>
                  </a:lnTo>
                  <a:lnTo>
                    <a:pt x="1134" y="1072"/>
                  </a:lnTo>
                  <a:lnTo>
                    <a:pt x="1128" y="1122"/>
                  </a:lnTo>
                  <a:lnTo>
                    <a:pt x="1118" y="1170"/>
                  </a:lnTo>
                  <a:lnTo>
                    <a:pt x="1108" y="1216"/>
                  </a:lnTo>
                  <a:lnTo>
                    <a:pt x="1098" y="1260"/>
                  </a:lnTo>
                  <a:lnTo>
                    <a:pt x="1086" y="1300"/>
                  </a:lnTo>
                  <a:lnTo>
                    <a:pt x="1072" y="1338"/>
                  </a:lnTo>
                  <a:lnTo>
                    <a:pt x="1058" y="1374"/>
                  </a:lnTo>
                  <a:lnTo>
                    <a:pt x="1042" y="1406"/>
                  </a:lnTo>
                  <a:lnTo>
                    <a:pt x="1024" y="1436"/>
                  </a:lnTo>
                  <a:lnTo>
                    <a:pt x="1006" y="1462"/>
                  </a:lnTo>
                  <a:lnTo>
                    <a:pt x="986" y="1486"/>
                  </a:lnTo>
                  <a:lnTo>
                    <a:pt x="986" y="1486"/>
                  </a:lnTo>
                  <a:lnTo>
                    <a:pt x="942" y="1534"/>
                  </a:lnTo>
                  <a:lnTo>
                    <a:pt x="902" y="1574"/>
                  </a:lnTo>
                  <a:lnTo>
                    <a:pt x="868" y="1604"/>
                  </a:lnTo>
                  <a:lnTo>
                    <a:pt x="836" y="1626"/>
                  </a:lnTo>
                  <a:lnTo>
                    <a:pt x="822" y="1634"/>
                  </a:lnTo>
                  <a:lnTo>
                    <a:pt x="806" y="1642"/>
                  </a:lnTo>
                  <a:lnTo>
                    <a:pt x="792" y="1646"/>
                  </a:lnTo>
                  <a:lnTo>
                    <a:pt x="778" y="1650"/>
                  </a:lnTo>
                  <a:lnTo>
                    <a:pt x="750" y="1656"/>
                  </a:lnTo>
                  <a:lnTo>
                    <a:pt x="718" y="1656"/>
                  </a:lnTo>
                  <a:lnTo>
                    <a:pt x="718" y="1656"/>
                  </a:lnTo>
                  <a:lnTo>
                    <a:pt x="688" y="1656"/>
                  </a:lnTo>
                  <a:lnTo>
                    <a:pt x="660" y="1650"/>
                  </a:lnTo>
                  <a:lnTo>
                    <a:pt x="646" y="1646"/>
                  </a:lnTo>
                  <a:lnTo>
                    <a:pt x="630" y="1642"/>
                  </a:lnTo>
                  <a:lnTo>
                    <a:pt x="616" y="1634"/>
                  </a:lnTo>
                  <a:lnTo>
                    <a:pt x="602" y="1626"/>
                  </a:lnTo>
                  <a:lnTo>
                    <a:pt x="570" y="1604"/>
                  </a:lnTo>
                  <a:lnTo>
                    <a:pt x="536" y="1574"/>
                  </a:lnTo>
                  <a:lnTo>
                    <a:pt x="496" y="1534"/>
                  </a:lnTo>
                  <a:lnTo>
                    <a:pt x="450" y="1486"/>
                  </a:lnTo>
                  <a:lnTo>
                    <a:pt x="450" y="1486"/>
                  </a:lnTo>
                  <a:lnTo>
                    <a:pt x="432" y="1462"/>
                  </a:lnTo>
                  <a:lnTo>
                    <a:pt x="414" y="1436"/>
                  </a:lnTo>
                  <a:lnTo>
                    <a:pt x="396" y="1406"/>
                  </a:lnTo>
                  <a:lnTo>
                    <a:pt x="380" y="1374"/>
                  </a:lnTo>
                  <a:lnTo>
                    <a:pt x="366" y="1338"/>
                  </a:lnTo>
                  <a:lnTo>
                    <a:pt x="352" y="1300"/>
                  </a:lnTo>
                  <a:lnTo>
                    <a:pt x="340" y="1260"/>
                  </a:lnTo>
                  <a:lnTo>
                    <a:pt x="328" y="1216"/>
                  </a:lnTo>
                  <a:lnTo>
                    <a:pt x="320" y="1170"/>
                  </a:lnTo>
                  <a:lnTo>
                    <a:pt x="310" y="1122"/>
                  </a:lnTo>
                  <a:lnTo>
                    <a:pt x="304" y="1072"/>
                  </a:lnTo>
                  <a:lnTo>
                    <a:pt x="298" y="1018"/>
                  </a:lnTo>
                  <a:lnTo>
                    <a:pt x="292" y="964"/>
                  </a:lnTo>
                  <a:lnTo>
                    <a:pt x="290" y="906"/>
                  </a:lnTo>
                  <a:lnTo>
                    <a:pt x="288" y="848"/>
                  </a:lnTo>
                  <a:lnTo>
                    <a:pt x="286" y="786"/>
                  </a:lnTo>
                  <a:lnTo>
                    <a:pt x="286" y="786"/>
                  </a:lnTo>
                  <a:lnTo>
                    <a:pt x="288" y="734"/>
                  </a:lnTo>
                  <a:lnTo>
                    <a:pt x="296" y="684"/>
                  </a:lnTo>
                  <a:lnTo>
                    <a:pt x="306" y="636"/>
                  </a:lnTo>
                  <a:lnTo>
                    <a:pt x="320" y="590"/>
                  </a:lnTo>
                  <a:lnTo>
                    <a:pt x="338" y="548"/>
                  </a:lnTo>
                  <a:lnTo>
                    <a:pt x="360" y="506"/>
                  </a:lnTo>
                  <a:lnTo>
                    <a:pt x="386" y="468"/>
                  </a:lnTo>
                  <a:lnTo>
                    <a:pt x="414" y="432"/>
                  </a:lnTo>
                  <a:lnTo>
                    <a:pt x="444" y="400"/>
                  </a:lnTo>
                  <a:lnTo>
                    <a:pt x="478" y="370"/>
                  </a:lnTo>
                  <a:lnTo>
                    <a:pt x="512" y="346"/>
                  </a:lnTo>
                  <a:lnTo>
                    <a:pt x="550" y="324"/>
                  </a:lnTo>
                  <a:lnTo>
                    <a:pt x="590" y="308"/>
                  </a:lnTo>
                  <a:lnTo>
                    <a:pt x="610" y="300"/>
                  </a:lnTo>
                  <a:lnTo>
                    <a:pt x="632" y="294"/>
                  </a:lnTo>
                  <a:lnTo>
                    <a:pt x="654" y="290"/>
                  </a:lnTo>
                  <a:lnTo>
                    <a:pt x="674" y="288"/>
                  </a:lnTo>
                  <a:lnTo>
                    <a:pt x="696" y="286"/>
                  </a:lnTo>
                  <a:lnTo>
                    <a:pt x="718" y="284"/>
                  </a:lnTo>
                  <a:lnTo>
                    <a:pt x="718" y="284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8625" tIns="29300" rIns="58625" bIns="293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</a:pPr>
              <a:endParaRPr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49" name="Google Shape;549;p57"/>
          <p:cNvSpPr txBox="1"/>
          <p:nvPr/>
        </p:nvSpPr>
        <p:spPr>
          <a:xfrm>
            <a:off x="2543120" y="2728760"/>
            <a:ext cx="2039459" cy="253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On the Go Verification</a:t>
            </a:r>
            <a:endParaRPr sz="1200" b="1" i="0" u="none" strike="noStrike" cap="none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0" name="Google Shape;550;p57"/>
          <p:cNvSpPr txBox="1"/>
          <p:nvPr/>
        </p:nvSpPr>
        <p:spPr>
          <a:xfrm>
            <a:off x="2598433" y="3199640"/>
            <a:ext cx="1922402" cy="1177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Any record can be verified using a simple and user friendly mobile application by scanning the QR Code printed on any certificate</a:t>
            </a:r>
            <a:endParaRPr sz="1200" b="0" i="0" u="none" strike="noStrike" cap="none" dirty="0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1" name="Google Shape;551;p57"/>
          <p:cNvSpPr txBox="1"/>
          <p:nvPr/>
        </p:nvSpPr>
        <p:spPr>
          <a:xfrm>
            <a:off x="332185" y="698675"/>
            <a:ext cx="8286377" cy="623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>
              <a:buSzPts val="1400"/>
            </a:pP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A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blockchain based license management system can store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 the digital data on an immutable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 tamperproof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ledger 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for secure storage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 and easy verification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. It will enable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KMC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 to completely protect the data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and securely store every transactions related to it</a:t>
            </a:r>
            <a:endParaRPr sz="1200" b="0" i="0" u="none" strike="noStrike" cap="none" dirty="0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2" name="Google Shape;552;p57"/>
          <p:cNvSpPr txBox="1"/>
          <p:nvPr/>
        </p:nvSpPr>
        <p:spPr>
          <a:xfrm>
            <a:off x="4504991" y="2658723"/>
            <a:ext cx="2267400" cy="4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>
                <a:latin typeface="Georgia"/>
                <a:ea typeface="Georgia"/>
                <a:cs typeface="Georgia"/>
                <a:sym typeface="Georgia"/>
              </a:rPr>
              <a:t>Tamperproof record of certificate</a:t>
            </a:r>
            <a:endParaRPr sz="1200" b="1" i="0" u="none" strike="noStrike" cap="none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3" name="Google Shape;553;p57"/>
          <p:cNvSpPr txBox="1"/>
          <p:nvPr/>
        </p:nvSpPr>
        <p:spPr>
          <a:xfrm>
            <a:off x="4759654" y="3200938"/>
            <a:ext cx="1922400" cy="1177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>
              <a:buSzPts val="1100"/>
            </a:pP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Using the tokenization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of digital data in the blockchain based system, it can be stored in the immutable tamperproof cryptographic ledger.</a:t>
            </a:r>
            <a:endParaRPr lang="en-US" sz="1200" b="0" i="0" u="none" strike="noStrike" cap="none" dirty="0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4" name="Google Shape;554;p57"/>
          <p:cNvSpPr/>
          <p:nvPr/>
        </p:nvSpPr>
        <p:spPr>
          <a:xfrm>
            <a:off x="5222130" y="1799001"/>
            <a:ext cx="821125" cy="719015"/>
          </a:xfrm>
          <a:custGeom>
            <a:avLst/>
            <a:gdLst/>
            <a:ahLst/>
            <a:cxnLst/>
            <a:rect l="l" t="t" r="r" b="b"/>
            <a:pathLst>
              <a:path w="6673" h="6672" extrusionOk="0">
                <a:moveTo>
                  <a:pt x="0" y="0"/>
                </a:moveTo>
                <a:lnTo>
                  <a:pt x="0" y="6672"/>
                </a:lnTo>
                <a:lnTo>
                  <a:pt x="6673" y="6672"/>
                </a:lnTo>
                <a:lnTo>
                  <a:pt x="6673" y="0"/>
                </a:lnTo>
                <a:lnTo>
                  <a:pt x="0" y="0"/>
                </a:lnTo>
                <a:close/>
                <a:moveTo>
                  <a:pt x="2260" y="1734"/>
                </a:moveTo>
                <a:lnTo>
                  <a:pt x="2260" y="1734"/>
                </a:lnTo>
                <a:lnTo>
                  <a:pt x="2264" y="1688"/>
                </a:lnTo>
                <a:lnTo>
                  <a:pt x="2270" y="1644"/>
                </a:lnTo>
                <a:lnTo>
                  <a:pt x="2280" y="1600"/>
                </a:lnTo>
                <a:lnTo>
                  <a:pt x="2296" y="1560"/>
                </a:lnTo>
                <a:lnTo>
                  <a:pt x="2316" y="1520"/>
                </a:lnTo>
                <a:lnTo>
                  <a:pt x="2338" y="1482"/>
                </a:lnTo>
                <a:lnTo>
                  <a:pt x="2364" y="1448"/>
                </a:lnTo>
                <a:lnTo>
                  <a:pt x="2392" y="1416"/>
                </a:lnTo>
                <a:lnTo>
                  <a:pt x="2424" y="1386"/>
                </a:lnTo>
                <a:lnTo>
                  <a:pt x="2460" y="1360"/>
                </a:lnTo>
                <a:lnTo>
                  <a:pt x="2496" y="1338"/>
                </a:lnTo>
                <a:lnTo>
                  <a:pt x="2536" y="1320"/>
                </a:lnTo>
                <a:lnTo>
                  <a:pt x="2578" y="1304"/>
                </a:lnTo>
                <a:lnTo>
                  <a:pt x="2620" y="1294"/>
                </a:lnTo>
                <a:lnTo>
                  <a:pt x="2666" y="1286"/>
                </a:lnTo>
                <a:lnTo>
                  <a:pt x="2712" y="1284"/>
                </a:lnTo>
                <a:lnTo>
                  <a:pt x="2712" y="1284"/>
                </a:lnTo>
                <a:lnTo>
                  <a:pt x="2758" y="1286"/>
                </a:lnTo>
                <a:lnTo>
                  <a:pt x="2802" y="1294"/>
                </a:lnTo>
                <a:lnTo>
                  <a:pt x="2846" y="1304"/>
                </a:lnTo>
                <a:lnTo>
                  <a:pt x="2886" y="1320"/>
                </a:lnTo>
                <a:lnTo>
                  <a:pt x="2926" y="1338"/>
                </a:lnTo>
                <a:lnTo>
                  <a:pt x="2964" y="1360"/>
                </a:lnTo>
                <a:lnTo>
                  <a:pt x="2998" y="1386"/>
                </a:lnTo>
                <a:lnTo>
                  <a:pt x="3030" y="1416"/>
                </a:lnTo>
                <a:lnTo>
                  <a:pt x="3058" y="1448"/>
                </a:lnTo>
                <a:lnTo>
                  <a:pt x="3084" y="1482"/>
                </a:lnTo>
                <a:lnTo>
                  <a:pt x="3108" y="1520"/>
                </a:lnTo>
                <a:lnTo>
                  <a:pt x="3126" y="1560"/>
                </a:lnTo>
                <a:lnTo>
                  <a:pt x="3142" y="1600"/>
                </a:lnTo>
                <a:lnTo>
                  <a:pt x="3152" y="1644"/>
                </a:lnTo>
                <a:lnTo>
                  <a:pt x="3160" y="1688"/>
                </a:lnTo>
                <a:lnTo>
                  <a:pt x="3162" y="1734"/>
                </a:lnTo>
                <a:lnTo>
                  <a:pt x="3162" y="1734"/>
                </a:lnTo>
                <a:lnTo>
                  <a:pt x="3160" y="1780"/>
                </a:lnTo>
                <a:lnTo>
                  <a:pt x="3152" y="1826"/>
                </a:lnTo>
                <a:lnTo>
                  <a:pt x="3142" y="1868"/>
                </a:lnTo>
                <a:lnTo>
                  <a:pt x="3126" y="1910"/>
                </a:lnTo>
                <a:lnTo>
                  <a:pt x="3108" y="1950"/>
                </a:lnTo>
                <a:lnTo>
                  <a:pt x="3084" y="1986"/>
                </a:lnTo>
                <a:lnTo>
                  <a:pt x="3058" y="2022"/>
                </a:lnTo>
                <a:lnTo>
                  <a:pt x="3030" y="2054"/>
                </a:lnTo>
                <a:lnTo>
                  <a:pt x="2998" y="2082"/>
                </a:lnTo>
                <a:lnTo>
                  <a:pt x="2964" y="2108"/>
                </a:lnTo>
                <a:lnTo>
                  <a:pt x="2926" y="2130"/>
                </a:lnTo>
                <a:lnTo>
                  <a:pt x="2886" y="2150"/>
                </a:lnTo>
                <a:lnTo>
                  <a:pt x="2846" y="2164"/>
                </a:lnTo>
                <a:lnTo>
                  <a:pt x="2802" y="2176"/>
                </a:lnTo>
                <a:lnTo>
                  <a:pt x="2758" y="2182"/>
                </a:lnTo>
                <a:lnTo>
                  <a:pt x="2712" y="2186"/>
                </a:lnTo>
                <a:lnTo>
                  <a:pt x="2712" y="2186"/>
                </a:lnTo>
                <a:lnTo>
                  <a:pt x="2666" y="2182"/>
                </a:lnTo>
                <a:lnTo>
                  <a:pt x="2620" y="2176"/>
                </a:lnTo>
                <a:lnTo>
                  <a:pt x="2578" y="2164"/>
                </a:lnTo>
                <a:lnTo>
                  <a:pt x="2536" y="2150"/>
                </a:lnTo>
                <a:lnTo>
                  <a:pt x="2496" y="2130"/>
                </a:lnTo>
                <a:lnTo>
                  <a:pt x="2460" y="2108"/>
                </a:lnTo>
                <a:lnTo>
                  <a:pt x="2424" y="2082"/>
                </a:lnTo>
                <a:lnTo>
                  <a:pt x="2392" y="2054"/>
                </a:lnTo>
                <a:lnTo>
                  <a:pt x="2364" y="2022"/>
                </a:lnTo>
                <a:lnTo>
                  <a:pt x="2338" y="1986"/>
                </a:lnTo>
                <a:lnTo>
                  <a:pt x="2316" y="1950"/>
                </a:lnTo>
                <a:lnTo>
                  <a:pt x="2296" y="1910"/>
                </a:lnTo>
                <a:lnTo>
                  <a:pt x="2280" y="1868"/>
                </a:lnTo>
                <a:lnTo>
                  <a:pt x="2270" y="1826"/>
                </a:lnTo>
                <a:lnTo>
                  <a:pt x="2264" y="1780"/>
                </a:lnTo>
                <a:lnTo>
                  <a:pt x="2260" y="1734"/>
                </a:lnTo>
                <a:lnTo>
                  <a:pt x="2260" y="1734"/>
                </a:lnTo>
                <a:close/>
                <a:moveTo>
                  <a:pt x="6389" y="6388"/>
                </a:moveTo>
                <a:lnTo>
                  <a:pt x="4183" y="6388"/>
                </a:lnTo>
                <a:lnTo>
                  <a:pt x="4183" y="5708"/>
                </a:lnTo>
                <a:lnTo>
                  <a:pt x="5355" y="4732"/>
                </a:lnTo>
                <a:lnTo>
                  <a:pt x="5355" y="2584"/>
                </a:lnTo>
                <a:lnTo>
                  <a:pt x="5355" y="2584"/>
                </a:lnTo>
                <a:lnTo>
                  <a:pt x="5387" y="2578"/>
                </a:lnTo>
                <a:lnTo>
                  <a:pt x="5419" y="2568"/>
                </a:lnTo>
                <a:lnTo>
                  <a:pt x="5449" y="2560"/>
                </a:lnTo>
                <a:lnTo>
                  <a:pt x="5479" y="2548"/>
                </a:lnTo>
                <a:lnTo>
                  <a:pt x="5507" y="2536"/>
                </a:lnTo>
                <a:lnTo>
                  <a:pt x="5535" y="2524"/>
                </a:lnTo>
                <a:lnTo>
                  <a:pt x="5563" y="2510"/>
                </a:lnTo>
                <a:lnTo>
                  <a:pt x="5591" y="2494"/>
                </a:lnTo>
                <a:lnTo>
                  <a:pt x="5617" y="2476"/>
                </a:lnTo>
                <a:lnTo>
                  <a:pt x="5643" y="2460"/>
                </a:lnTo>
                <a:lnTo>
                  <a:pt x="5667" y="2440"/>
                </a:lnTo>
                <a:lnTo>
                  <a:pt x="5691" y="2420"/>
                </a:lnTo>
                <a:lnTo>
                  <a:pt x="5715" y="2400"/>
                </a:lnTo>
                <a:lnTo>
                  <a:pt x="5737" y="2378"/>
                </a:lnTo>
                <a:lnTo>
                  <a:pt x="5759" y="2356"/>
                </a:lnTo>
                <a:lnTo>
                  <a:pt x="5779" y="2332"/>
                </a:lnTo>
                <a:lnTo>
                  <a:pt x="5799" y="2308"/>
                </a:lnTo>
                <a:lnTo>
                  <a:pt x="5817" y="2282"/>
                </a:lnTo>
                <a:lnTo>
                  <a:pt x="5833" y="2258"/>
                </a:lnTo>
                <a:lnTo>
                  <a:pt x="5851" y="2230"/>
                </a:lnTo>
                <a:lnTo>
                  <a:pt x="5865" y="2204"/>
                </a:lnTo>
                <a:lnTo>
                  <a:pt x="5879" y="2174"/>
                </a:lnTo>
                <a:lnTo>
                  <a:pt x="5891" y="2146"/>
                </a:lnTo>
                <a:lnTo>
                  <a:pt x="5903" y="2116"/>
                </a:lnTo>
                <a:lnTo>
                  <a:pt x="5913" y="2086"/>
                </a:lnTo>
                <a:lnTo>
                  <a:pt x="5923" y="2056"/>
                </a:lnTo>
                <a:lnTo>
                  <a:pt x="5931" y="2026"/>
                </a:lnTo>
                <a:lnTo>
                  <a:pt x="5937" y="1994"/>
                </a:lnTo>
                <a:lnTo>
                  <a:pt x="5943" y="1962"/>
                </a:lnTo>
                <a:lnTo>
                  <a:pt x="5945" y="1930"/>
                </a:lnTo>
                <a:lnTo>
                  <a:pt x="5947" y="1896"/>
                </a:lnTo>
                <a:lnTo>
                  <a:pt x="5949" y="1864"/>
                </a:lnTo>
                <a:lnTo>
                  <a:pt x="5949" y="1864"/>
                </a:lnTo>
                <a:lnTo>
                  <a:pt x="5947" y="1826"/>
                </a:lnTo>
                <a:lnTo>
                  <a:pt x="5945" y="1788"/>
                </a:lnTo>
                <a:lnTo>
                  <a:pt x="5941" y="1752"/>
                </a:lnTo>
                <a:lnTo>
                  <a:pt x="5933" y="1716"/>
                </a:lnTo>
                <a:lnTo>
                  <a:pt x="5925" y="1680"/>
                </a:lnTo>
                <a:lnTo>
                  <a:pt x="5915" y="1644"/>
                </a:lnTo>
                <a:lnTo>
                  <a:pt x="5903" y="1610"/>
                </a:lnTo>
                <a:lnTo>
                  <a:pt x="5891" y="1578"/>
                </a:lnTo>
                <a:lnTo>
                  <a:pt x="5877" y="1544"/>
                </a:lnTo>
                <a:lnTo>
                  <a:pt x="5859" y="1512"/>
                </a:lnTo>
                <a:lnTo>
                  <a:pt x="5843" y="1482"/>
                </a:lnTo>
                <a:lnTo>
                  <a:pt x="5823" y="1452"/>
                </a:lnTo>
                <a:lnTo>
                  <a:pt x="5803" y="1424"/>
                </a:lnTo>
                <a:lnTo>
                  <a:pt x="5781" y="1396"/>
                </a:lnTo>
                <a:lnTo>
                  <a:pt x="5757" y="1368"/>
                </a:lnTo>
                <a:lnTo>
                  <a:pt x="5733" y="1344"/>
                </a:lnTo>
                <a:lnTo>
                  <a:pt x="5707" y="1320"/>
                </a:lnTo>
                <a:lnTo>
                  <a:pt x="5681" y="1296"/>
                </a:lnTo>
                <a:lnTo>
                  <a:pt x="5653" y="1274"/>
                </a:lnTo>
                <a:lnTo>
                  <a:pt x="5625" y="1254"/>
                </a:lnTo>
                <a:lnTo>
                  <a:pt x="5595" y="1234"/>
                </a:lnTo>
                <a:lnTo>
                  <a:pt x="5563" y="1216"/>
                </a:lnTo>
                <a:lnTo>
                  <a:pt x="5531" y="1200"/>
                </a:lnTo>
                <a:lnTo>
                  <a:pt x="5499" y="1186"/>
                </a:lnTo>
                <a:lnTo>
                  <a:pt x="5465" y="1172"/>
                </a:lnTo>
                <a:lnTo>
                  <a:pt x="5431" y="1160"/>
                </a:lnTo>
                <a:lnTo>
                  <a:pt x="5397" y="1150"/>
                </a:lnTo>
                <a:lnTo>
                  <a:pt x="5361" y="1142"/>
                </a:lnTo>
                <a:lnTo>
                  <a:pt x="5325" y="1136"/>
                </a:lnTo>
                <a:lnTo>
                  <a:pt x="5289" y="1132"/>
                </a:lnTo>
                <a:lnTo>
                  <a:pt x="5251" y="1128"/>
                </a:lnTo>
                <a:lnTo>
                  <a:pt x="5213" y="1128"/>
                </a:lnTo>
                <a:lnTo>
                  <a:pt x="5213" y="1128"/>
                </a:lnTo>
                <a:lnTo>
                  <a:pt x="5175" y="1128"/>
                </a:lnTo>
                <a:lnTo>
                  <a:pt x="5139" y="1132"/>
                </a:lnTo>
                <a:lnTo>
                  <a:pt x="5101" y="1136"/>
                </a:lnTo>
                <a:lnTo>
                  <a:pt x="5065" y="1142"/>
                </a:lnTo>
                <a:lnTo>
                  <a:pt x="5029" y="1150"/>
                </a:lnTo>
                <a:lnTo>
                  <a:pt x="4995" y="1160"/>
                </a:lnTo>
                <a:lnTo>
                  <a:pt x="4961" y="1172"/>
                </a:lnTo>
                <a:lnTo>
                  <a:pt x="4927" y="1186"/>
                </a:lnTo>
                <a:lnTo>
                  <a:pt x="4895" y="1200"/>
                </a:lnTo>
                <a:lnTo>
                  <a:pt x="4863" y="1216"/>
                </a:lnTo>
                <a:lnTo>
                  <a:pt x="4833" y="1234"/>
                </a:lnTo>
                <a:lnTo>
                  <a:pt x="4803" y="1254"/>
                </a:lnTo>
                <a:lnTo>
                  <a:pt x="4773" y="1274"/>
                </a:lnTo>
                <a:lnTo>
                  <a:pt x="4747" y="1296"/>
                </a:lnTo>
                <a:lnTo>
                  <a:pt x="4719" y="1320"/>
                </a:lnTo>
                <a:lnTo>
                  <a:pt x="4693" y="1344"/>
                </a:lnTo>
                <a:lnTo>
                  <a:pt x="4669" y="1368"/>
                </a:lnTo>
                <a:lnTo>
                  <a:pt x="4647" y="1396"/>
                </a:lnTo>
                <a:lnTo>
                  <a:pt x="4625" y="1424"/>
                </a:lnTo>
                <a:lnTo>
                  <a:pt x="4603" y="1452"/>
                </a:lnTo>
                <a:lnTo>
                  <a:pt x="4585" y="1482"/>
                </a:lnTo>
                <a:lnTo>
                  <a:pt x="4567" y="1512"/>
                </a:lnTo>
                <a:lnTo>
                  <a:pt x="4551" y="1544"/>
                </a:lnTo>
                <a:lnTo>
                  <a:pt x="4537" y="1578"/>
                </a:lnTo>
                <a:lnTo>
                  <a:pt x="4523" y="1610"/>
                </a:lnTo>
                <a:lnTo>
                  <a:pt x="4511" y="1644"/>
                </a:lnTo>
                <a:lnTo>
                  <a:pt x="4501" y="1680"/>
                </a:lnTo>
                <a:lnTo>
                  <a:pt x="4493" y="1716"/>
                </a:lnTo>
                <a:lnTo>
                  <a:pt x="4487" y="1752"/>
                </a:lnTo>
                <a:lnTo>
                  <a:pt x="4483" y="1788"/>
                </a:lnTo>
                <a:lnTo>
                  <a:pt x="4479" y="1826"/>
                </a:lnTo>
                <a:lnTo>
                  <a:pt x="4479" y="1864"/>
                </a:lnTo>
                <a:lnTo>
                  <a:pt x="4479" y="1864"/>
                </a:lnTo>
                <a:lnTo>
                  <a:pt x="4479" y="1896"/>
                </a:lnTo>
                <a:lnTo>
                  <a:pt x="4481" y="1930"/>
                </a:lnTo>
                <a:lnTo>
                  <a:pt x="4485" y="1962"/>
                </a:lnTo>
                <a:lnTo>
                  <a:pt x="4489" y="1994"/>
                </a:lnTo>
                <a:lnTo>
                  <a:pt x="4497" y="2026"/>
                </a:lnTo>
                <a:lnTo>
                  <a:pt x="4505" y="2056"/>
                </a:lnTo>
                <a:lnTo>
                  <a:pt x="4513" y="2086"/>
                </a:lnTo>
                <a:lnTo>
                  <a:pt x="4523" y="2116"/>
                </a:lnTo>
                <a:lnTo>
                  <a:pt x="4535" y="2146"/>
                </a:lnTo>
                <a:lnTo>
                  <a:pt x="4547" y="2174"/>
                </a:lnTo>
                <a:lnTo>
                  <a:pt x="4561" y="2204"/>
                </a:lnTo>
                <a:lnTo>
                  <a:pt x="4577" y="2230"/>
                </a:lnTo>
                <a:lnTo>
                  <a:pt x="4593" y="2258"/>
                </a:lnTo>
                <a:lnTo>
                  <a:pt x="4611" y="2282"/>
                </a:lnTo>
                <a:lnTo>
                  <a:pt x="4629" y="2308"/>
                </a:lnTo>
                <a:lnTo>
                  <a:pt x="4649" y="2332"/>
                </a:lnTo>
                <a:lnTo>
                  <a:pt x="4669" y="2356"/>
                </a:lnTo>
                <a:lnTo>
                  <a:pt x="4689" y="2378"/>
                </a:lnTo>
                <a:lnTo>
                  <a:pt x="4713" y="2400"/>
                </a:lnTo>
                <a:lnTo>
                  <a:pt x="4735" y="2420"/>
                </a:lnTo>
                <a:lnTo>
                  <a:pt x="4759" y="2440"/>
                </a:lnTo>
                <a:lnTo>
                  <a:pt x="4785" y="2460"/>
                </a:lnTo>
                <a:lnTo>
                  <a:pt x="4809" y="2476"/>
                </a:lnTo>
                <a:lnTo>
                  <a:pt x="4837" y="2494"/>
                </a:lnTo>
                <a:lnTo>
                  <a:pt x="4863" y="2510"/>
                </a:lnTo>
                <a:lnTo>
                  <a:pt x="4891" y="2524"/>
                </a:lnTo>
                <a:lnTo>
                  <a:pt x="4919" y="2536"/>
                </a:lnTo>
                <a:lnTo>
                  <a:pt x="4949" y="2548"/>
                </a:lnTo>
                <a:lnTo>
                  <a:pt x="4979" y="2560"/>
                </a:lnTo>
                <a:lnTo>
                  <a:pt x="5009" y="2568"/>
                </a:lnTo>
                <a:lnTo>
                  <a:pt x="5039" y="2578"/>
                </a:lnTo>
                <a:lnTo>
                  <a:pt x="5071" y="2584"/>
                </a:lnTo>
                <a:lnTo>
                  <a:pt x="5071" y="4600"/>
                </a:lnTo>
                <a:lnTo>
                  <a:pt x="3899" y="5576"/>
                </a:lnTo>
                <a:lnTo>
                  <a:pt x="3899" y="6388"/>
                </a:lnTo>
                <a:lnTo>
                  <a:pt x="3567" y="6388"/>
                </a:lnTo>
                <a:lnTo>
                  <a:pt x="3567" y="4988"/>
                </a:lnTo>
                <a:lnTo>
                  <a:pt x="4105" y="4526"/>
                </a:lnTo>
                <a:lnTo>
                  <a:pt x="4105" y="3818"/>
                </a:lnTo>
                <a:lnTo>
                  <a:pt x="4105" y="3818"/>
                </a:lnTo>
                <a:lnTo>
                  <a:pt x="4137" y="3810"/>
                </a:lnTo>
                <a:lnTo>
                  <a:pt x="4167" y="3802"/>
                </a:lnTo>
                <a:lnTo>
                  <a:pt x="4197" y="3792"/>
                </a:lnTo>
                <a:lnTo>
                  <a:pt x="4227" y="3782"/>
                </a:lnTo>
                <a:lnTo>
                  <a:pt x="4257" y="3770"/>
                </a:lnTo>
                <a:lnTo>
                  <a:pt x="4285" y="3756"/>
                </a:lnTo>
                <a:lnTo>
                  <a:pt x="4313" y="3742"/>
                </a:lnTo>
                <a:lnTo>
                  <a:pt x="4341" y="3726"/>
                </a:lnTo>
                <a:lnTo>
                  <a:pt x="4367" y="3710"/>
                </a:lnTo>
                <a:lnTo>
                  <a:pt x="4393" y="3692"/>
                </a:lnTo>
                <a:lnTo>
                  <a:pt x="4417" y="3674"/>
                </a:lnTo>
                <a:lnTo>
                  <a:pt x="4441" y="3654"/>
                </a:lnTo>
                <a:lnTo>
                  <a:pt x="4465" y="3634"/>
                </a:lnTo>
                <a:lnTo>
                  <a:pt x="4487" y="3612"/>
                </a:lnTo>
                <a:lnTo>
                  <a:pt x="4507" y="3590"/>
                </a:lnTo>
                <a:lnTo>
                  <a:pt x="4529" y="3566"/>
                </a:lnTo>
                <a:lnTo>
                  <a:pt x="4547" y="3542"/>
                </a:lnTo>
                <a:lnTo>
                  <a:pt x="4565" y="3516"/>
                </a:lnTo>
                <a:lnTo>
                  <a:pt x="4583" y="3490"/>
                </a:lnTo>
                <a:lnTo>
                  <a:pt x="4599" y="3464"/>
                </a:lnTo>
                <a:lnTo>
                  <a:pt x="4615" y="3436"/>
                </a:lnTo>
                <a:lnTo>
                  <a:pt x="4629" y="3408"/>
                </a:lnTo>
                <a:lnTo>
                  <a:pt x="4641" y="3380"/>
                </a:lnTo>
                <a:lnTo>
                  <a:pt x="4653" y="3350"/>
                </a:lnTo>
                <a:lnTo>
                  <a:pt x="4663" y="3320"/>
                </a:lnTo>
                <a:lnTo>
                  <a:pt x="4673" y="3290"/>
                </a:lnTo>
                <a:lnTo>
                  <a:pt x="4681" y="3258"/>
                </a:lnTo>
                <a:lnTo>
                  <a:pt x="4687" y="3228"/>
                </a:lnTo>
                <a:lnTo>
                  <a:pt x="4691" y="3196"/>
                </a:lnTo>
                <a:lnTo>
                  <a:pt x="4695" y="3162"/>
                </a:lnTo>
                <a:lnTo>
                  <a:pt x="4697" y="3130"/>
                </a:lnTo>
                <a:lnTo>
                  <a:pt x="4699" y="3096"/>
                </a:lnTo>
                <a:lnTo>
                  <a:pt x="4699" y="3096"/>
                </a:lnTo>
                <a:lnTo>
                  <a:pt x="4697" y="3058"/>
                </a:lnTo>
                <a:lnTo>
                  <a:pt x="4695" y="3022"/>
                </a:lnTo>
                <a:lnTo>
                  <a:pt x="4689" y="2984"/>
                </a:lnTo>
                <a:lnTo>
                  <a:pt x="4683" y="2948"/>
                </a:lnTo>
                <a:lnTo>
                  <a:pt x="4675" y="2912"/>
                </a:lnTo>
                <a:lnTo>
                  <a:pt x="4665" y="2878"/>
                </a:lnTo>
                <a:lnTo>
                  <a:pt x="4653" y="2844"/>
                </a:lnTo>
                <a:lnTo>
                  <a:pt x="4641" y="2810"/>
                </a:lnTo>
                <a:lnTo>
                  <a:pt x="4625" y="2778"/>
                </a:lnTo>
                <a:lnTo>
                  <a:pt x="4609" y="2746"/>
                </a:lnTo>
                <a:lnTo>
                  <a:pt x="4591" y="2716"/>
                </a:lnTo>
                <a:lnTo>
                  <a:pt x="4573" y="2686"/>
                </a:lnTo>
                <a:lnTo>
                  <a:pt x="4551" y="2656"/>
                </a:lnTo>
                <a:lnTo>
                  <a:pt x="4531" y="2630"/>
                </a:lnTo>
                <a:lnTo>
                  <a:pt x="4507" y="2602"/>
                </a:lnTo>
                <a:lnTo>
                  <a:pt x="4483" y="2576"/>
                </a:lnTo>
                <a:lnTo>
                  <a:pt x="4457" y="2552"/>
                </a:lnTo>
                <a:lnTo>
                  <a:pt x="4431" y="2530"/>
                </a:lnTo>
                <a:lnTo>
                  <a:pt x="4403" y="2508"/>
                </a:lnTo>
                <a:lnTo>
                  <a:pt x="4373" y="2486"/>
                </a:lnTo>
                <a:lnTo>
                  <a:pt x="4343" y="2468"/>
                </a:lnTo>
                <a:lnTo>
                  <a:pt x="4313" y="2450"/>
                </a:lnTo>
                <a:lnTo>
                  <a:pt x="4281" y="2434"/>
                </a:lnTo>
                <a:lnTo>
                  <a:pt x="4249" y="2420"/>
                </a:lnTo>
                <a:lnTo>
                  <a:pt x="4215" y="2406"/>
                </a:lnTo>
                <a:lnTo>
                  <a:pt x="4181" y="2394"/>
                </a:lnTo>
                <a:lnTo>
                  <a:pt x="4147" y="2384"/>
                </a:lnTo>
                <a:lnTo>
                  <a:pt x="4111" y="2376"/>
                </a:lnTo>
                <a:lnTo>
                  <a:pt x="4075" y="2370"/>
                </a:lnTo>
                <a:lnTo>
                  <a:pt x="4037" y="2366"/>
                </a:lnTo>
                <a:lnTo>
                  <a:pt x="4001" y="2362"/>
                </a:lnTo>
                <a:lnTo>
                  <a:pt x="3963" y="2362"/>
                </a:lnTo>
                <a:lnTo>
                  <a:pt x="3963" y="2362"/>
                </a:lnTo>
                <a:lnTo>
                  <a:pt x="3925" y="2362"/>
                </a:lnTo>
                <a:lnTo>
                  <a:pt x="3887" y="2366"/>
                </a:lnTo>
                <a:lnTo>
                  <a:pt x="3851" y="2370"/>
                </a:lnTo>
                <a:lnTo>
                  <a:pt x="3815" y="2376"/>
                </a:lnTo>
                <a:lnTo>
                  <a:pt x="3779" y="2384"/>
                </a:lnTo>
                <a:lnTo>
                  <a:pt x="3745" y="2394"/>
                </a:lnTo>
                <a:lnTo>
                  <a:pt x="3711" y="2406"/>
                </a:lnTo>
                <a:lnTo>
                  <a:pt x="3677" y="2420"/>
                </a:lnTo>
                <a:lnTo>
                  <a:pt x="3645" y="2434"/>
                </a:lnTo>
                <a:lnTo>
                  <a:pt x="3613" y="2450"/>
                </a:lnTo>
                <a:lnTo>
                  <a:pt x="3581" y="2468"/>
                </a:lnTo>
                <a:lnTo>
                  <a:pt x="3553" y="2486"/>
                </a:lnTo>
                <a:lnTo>
                  <a:pt x="3523" y="2508"/>
                </a:lnTo>
                <a:lnTo>
                  <a:pt x="3495" y="2530"/>
                </a:lnTo>
                <a:lnTo>
                  <a:pt x="3469" y="2552"/>
                </a:lnTo>
                <a:lnTo>
                  <a:pt x="3443" y="2576"/>
                </a:lnTo>
                <a:lnTo>
                  <a:pt x="3419" y="2602"/>
                </a:lnTo>
                <a:lnTo>
                  <a:pt x="3395" y="2630"/>
                </a:lnTo>
                <a:lnTo>
                  <a:pt x="3373" y="2656"/>
                </a:lnTo>
                <a:lnTo>
                  <a:pt x="3353" y="2686"/>
                </a:lnTo>
                <a:lnTo>
                  <a:pt x="3334" y="2716"/>
                </a:lnTo>
                <a:lnTo>
                  <a:pt x="3316" y="2746"/>
                </a:lnTo>
                <a:lnTo>
                  <a:pt x="3300" y="2778"/>
                </a:lnTo>
                <a:lnTo>
                  <a:pt x="3284" y="2810"/>
                </a:lnTo>
                <a:lnTo>
                  <a:pt x="3272" y="2844"/>
                </a:lnTo>
                <a:lnTo>
                  <a:pt x="3260" y="2878"/>
                </a:lnTo>
                <a:lnTo>
                  <a:pt x="3250" y="2912"/>
                </a:lnTo>
                <a:lnTo>
                  <a:pt x="3242" y="2948"/>
                </a:lnTo>
                <a:lnTo>
                  <a:pt x="3236" y="2984"/>
                </a:lnTo>
                <a:lnTo>
                  <a:pt x="3230" y="3022"/>
                </a:lnTo>
                <a:lnTo>
                  <a:pt x="3228" y="3058"/>
                </a:lnTo>
                <a:lnTo>
                  <a:pt x="3226" y="3096"/>
                </a:lnTo>
                <a:lnTo>
                  <a:pt x="3226" y="3096"/>
                </a:lnTo>
                <a:lnTo>
                  <a:pt x="3228" y="3130"/>
                </a:lnTo>
                <a:lnTo>
                  <a:pt x="3230" y="3162"/>
                </a:lnTo>
                <a:lnTo>
                  <a:pt x="3234" y="3196"/>
                </a:lnTo>
                <a:lnTo>
                  <a:pt x="3238" y="3228"/>
                </a:lnTo>
                <a:lnTo>
                  <a:pt x="3244" y="3258"/>
                </a:lnTo>
                <a:lnTo>
                  <a:pt x="3252" y="3290"/>
                </a:lnTo>
                <a:lnTo>
                  <a:pt x="3262" y="3320"/>
                </a:lnTo>
                <a:lnTo>
                  <a:pt x="3272" y="3350"/>
                </a:lnTo>
                <a:lnTo>
                  <a:pt x="3284" y="3380"/>
                </a:lnTo>
                <a:lnTo>
                  <a:pt x="3296" y="3408"/>
                </a:lnTo>
                <a:lnTo>
                  <a:pt x="3310" y="3436"/>
                </a:lnTo>
                <a:lnTo>
                  <a:pt x="3326" y="3464"/>
                </a:lnTo>
                <a:lnTo>
                  <a:pt x="3343" y="3490"/>
                </a:lnTo>
                <a:lnTo>
                  <a:pt x="3359" y="3516"/>
                </a:lnTo>
                <a:lnTo>
                  <a:pt x="3379" y="3542"/>
                </a:lnTo>
                <a:lnTo>
                  <a:pt x="3397" y="3566"/>
                </a:lnTo>
                <a:lnTo>
                  <a:pt x="3417" y="3590"/>
                </a:lnTo>
                <a:lnTo>
                  <a:pt x="3439" y="3612"/>
                </a:lnTo>
                <a:lnTo>
                  <a:pt x="3461" y="3634"/>
                </a:lnTo>
                <a:lnTo>
                  <a:pt x="3485" y="3654"/>
                </a:lnTo>
                <a:lnTo>
                  <a:pt x="3509" y="3674"/>
                </a:lnTo>
                <a:lnTo>
                  <a:pt x="3533" y="3692"/>
                </a:lnTo>
                <a:lnTo>
                  <a:pt x="3559" y="3710"/>
                </a:lnTo>
                <a:lnTo>
                  <a:pt x="3585" y="3726"/>
                </a:lnTo>
                <a:lnTo>
                  <a:pt x="3613" y="3742"/>
                </a:lnTo>
                <a:lnTo>
                  <a:pt x="3641" y="3756"/>
                </a:lnTo>
                <a:lnTo>
                  <a:pt x="3669" y="3770"/>
                </a:lnTo>
                <a:lnTo>
                  <a:pt x="3699" y="3782"/>
                </a:lnTo>
                <a:lnTo>
                  <a:pt x="3729" y="3792"/>
                </a:lnTo>
                <a:lnTo>
                  <a:pt x="3759" y="3802"/>
                </a:lnTo>
                <a:lnTo>
                  <a:pt x="3789" y="3810"/>
                </a:lnTo>
                <a:lnTo>
                  <a:pt x="3821" y="3818"/>
                </a:lnTo>
                <a:lnTo>
                  <a:pt x="3821" y="4394"/>
                </a:lnTo>
                <a:lnTo>
                  <a:pt x="3282" y="4858"/>
                </a:lnTo>
                <a:lnTo>
                  <a:pt x="3282" y="6388"/>
                </a:lnTo>
                <a:lnTo>
                  <a:pt x="2948" y="6388"/>
                </a:lnTo>
                <a:lnTo>
                  <a:pt x="2856" y="2456"/>
                </a:lnTo>
                <a:lnTo>
                  <a:pt x="2856" y="2456"/>
                </a:lnTo>
                <a:lnTo>
                  <a:pt x="2888" y="2448"/>
                </a:lnTo>
                <a:lnTo>
                  <a:pt x="2918" y="2440"/>
                </a:lnTo>
                <a:lnTo>
                  <a:pt x="2948" y="2430"/>
                </a:lnTo>
                <a:lnTo>
                  <a:pt x="2978" y="2420"/>
                </a:lnTo>
                <a:lnTo>
                  <a:pt x="3008" y="2408"/>
                </a:lnTo>
                <a:lnTo>
                  <a:pt x="3036" y="2394"/>
                </a:lnTo>
                <a:lnTo>
                  <a:pt x="3064" y="2380"/>
                </a:lnTo>
                <a:lnTo>
                  <a:pt x="3090" y="2364"/>
                </a:lnTo>
                <a:lnTo>
                  <a:pt x="3116" y="2348"/>
                </a:lnTo>
                <a:lnTo>
                  <a:pt x="3142" y="2330"/>
                </a:lnTo>
                <a:lnTo>
                  <a:pt x="3168" y="2310"/>
                </a:lnTo>
                <a:lnTo>
                  <a:pt x="3190" y="2292"/>
                </a:lnTo>
                <a:lnTo>
                  <a:pt x="3214" y="2270"/>
                </a:lnTo>
                <a:lnTo>
                  <a:pt x="3236" y="2248"/>
                </a:lnTo>
                <a:lnTo>
                  <a:pt x="3258" y="2226"/>
                </a:lnTo>
                <a:lnTo>
                  <a:pt x="3278" y="2202"/>
                </a:lnTo>
                <a:lnTo>
                  <a:pt x="3296" y="2178"/>
                </a:lnTo>
                <a:lnTo>
                  <a:pt x="3316" y="2154"/>
                </a:lnTo>
                <a:lnTo>
                  <a:pt x="3332" y="2128"/>
                </a:lnTo>
                <a:lnTo>
                  <a:pt x="3349" y="2102"/>
                </a:lnTo>
                <a:lnTo>
                  <a:pt x="3365" y="2074"/>
                </a:lnTo>
                <a:lnTo>
                  <a:pt x="3379" y="2046"/>
                </a:lnTo>
                <a:lnTo>
                  <a:pt x="3391" y="2016"/>
                </a:lnTo>
                <a:lnTo>
                  <a:pt x="3403" y="1988"/>
                </a:lnTo>
                <a:lnTo>
                  <a:pt x="3413" y="1958"/>
                </a:lnTo>
                <a:lnTo>
                  <a:pt x="3421" y="1928"/>
                </a:lnTo>
                <a:lnTo>
                  <a:pt x="3429" y="1896"/>
                </a:lnTo>
                <a:lnTo>
                  <a:pt x="3435" y="1864"/>
                </a:lnTo>
                <a:lnTo>
                  <a:pt x="3441" y="1832"/>
                </a:lnTo>
                <a:lnTo>
                  <a:pt x="3445" y="1800"/>
                </a:lnTo>
                <a:lnTo>
                  <a:pt x="3447" y="1768"/>
                </a:lnTo>
                <a:lnTo>
                  <a:pt x="3447" y="1734"/>
                </a:lnTo>
                <a:lnTo>
                  <a:pt x="3447" y="1734"/>
                </a:lnTo>
                <a:lnTo>
                  <a:pt x="3447" y="1696"/>
                </a:lnTo>
                <a:lnTo>
                  <a:pt x="3443" y="1660"/>
                </a:lnTo>
                <a:lnTo>
                  <a:pt x="3439" y="1622"/>
                </a:lnTo>
                <a:lnTo>
                  <a:pt x="3433" y="1586"/>
                </a:lnTo>
                <a:lnTo>
                  <a:pt x="3425" y="1552"/>
                </a:lnTo>
                <a:lnTo>
                  <a:pt x="3415" y="1516"/>
                </a:lnTo>
                <a:lnTo>
                  <a:pt x="3403" y="1482"/>
                </a:lnTo>
                <a:lnTo>
                  <a:pt x="3389" y="1448"/>
                </a:lnTo>
                <a:lnTo>
                  <a:pt x="3375" y="1416"/>
                </a:lnTo>
                <a:lnTo>
                  <a:pt x="3359" y="1384"/>
                </a:lnTo>
                <a:lnTo>
                  <a:pt x="3341" y="1354"/>
                </a:lnTo>
                <a:lnTo>
                  <a:pt x="3320" y="1324"/>
                </a:lnTo>
                <a:lnTo>
                  <a:pt x="3300" y="1294"/>
                </a:lnTo>
                <a:lnTo>
                  <a:pt x="3278" y="1268"/>
                </a:lnTo>
                <a:lnTo>
                  <a:pt x="3256" y="1240"/>
                </a:lnTo>
                <a:lnTo>
                  <a:pt x="3230" y="1214"/>
                </a:lnTo>
                <a:lnTo>
                  <a:pt x="3206" y="1190"/>
                </a:lnTo>
                <a:lnTo>
                  <a:pt x="3178" y="1168"/>
                </a:lnTo>
                <a:lnTo>
                  <a:pt x="3150" y="1146"/>
                </a:lnTo>
                <a:lnTo>
                  <a:pt x="3122" y="1126"/>
                </a:lnTo>
                <a:lnTo>
                  <a:pt x="3092" y="1106"/>
                </a:lnTo>
                <a:lnTo>
                  <a:pt x="3062" y="1088"/>
                </a:lnTo>
                <a:lnTo>
                  <a:pt x="3030" y="1072"/>
                </a:lnTo>
                <a:lnTo>
                  <a:pt x="2998" y="1058"/>
                </a:lnTo>
                <a:lnTo>
                  <a:pt x="2964" y="1044"/>
                </a:lnTo>
                <a:lnTo>
                  <a:pt x="2930" y="1032"/>
                </a:lnTo>
                <a:lnTo>
                  <a:pt x="2894" y="1022"/>
                </a:lnTo>
                <a:lnTo>
                  <a:pt x="2860" y="1014"/>
                </a:lnTo>
                <a:lnTo>
                  <a:pt x="2824" y="1008"/>
                </a:lnTo>
                <a:lnTo>
                  <a:pt x="2786" y="1004"/>
                </a:lnTo>
                <a:lnTo>
                  <a:pt x="2750" y="1000"/>
                </a:lnTo>
                <a:lnTo>
                  <a:pt x="2712" y="1000"/>
                </a:lnTo>
                <a:lnTo>
                  <a:pt x="2712" y="1000"/>
                </a:lnTo>
                <a:lnTo>
                  <a:pt x="2674" y="1000"/>
                </a:lnTo>
                <a:lnTo>
                  <a:pt x="2636" y="1004"/>
                </a:lnTo>
                <a:lnTo>
                  <a:pt x="2600" y="1008"/>
                </a:lnTo>
                <a:lnTo>
                  <a:pt x="2564" y="1014"/>
                </a:lnTo>
                <a:lnTo>
                  <a:pt x="2528" y="1022"/>
                </a:lnTo>
                <a:lnTo>
                  <a:pt x="2492" y="1032"/>
                </a:lnTo>
                <a:lnTo>
                  <a:pt x="2458" y="1044"/>
                </a:lnTo>
                <a:lnTo>
                  <a:pt x="2426" y="1058"/>
                </a:lnTo>
                <a:lnTo>
                  <a:pt x="2392" y="1072"/>
                </a:lnTo>
                <a:lnTo>
                  <a:pt x="2362" y="1088"/>
                </a:lnTo>
                <a:lnTo>
                  <a:pt x="2330" y="1106"/>
                </a:lnTo>
                <a:lnTo>
                  <a:pt x="2300" y="1126"/>
                </a:lnTo>
                <a:lnTo>
                  <a:pt x="2272" y="1146"/>
                </a:lnTo>
                <a:lnTo>
                  <a:pt x="2244" y="1168"/>
                </a:lnTo>
                <a:lnTo>
                  <a:pt x="2218" y="1190"/>
                </a:lnTo>
                <a:lnTo>
                  <a:pt x="2192" y="1214"/>
                </a:lnTo>
                <a:lnTo>
                  <a:pt x="2168" y="1240"/>
                </a:lnTo>
                <a:lnTo>
                  <a:pt x="2144" y="1268"/>
                </a:lnTo>
                <a:lnTo>
                  <a:pt x="2122" y="1294"/>
                </a:lnTo>
                <a:lnTo>
                  <a:pt x="2102" y="1324"/>
                </a:lnTo>
                <a:lnTo>
                  <a:pt x="2082" y="1354"/>
                </a:lnTo>
                <a:lnTo>
                  <a:pt x="2066" y="1384"/>
                </a:lnTo>
                <a:lnTo>
                  <a:pt x="2048" y="1416"/>
                </a:lnTo>
                <a:lnTo>
                  <a:pt x="2034" y="1448"/>
                </a:lnTo>
                <a:lnTo>
                  <a:pt x="2020" y="1482"/>
                </a:lnTo>
                <a:lnTo>
                  <a:pt x="2010" y="1516"/>
                </a:lnTo>
                <a:lnTo>
                  <a:pt x="2000" y="1552"/>
                </a:lnTo>
                <a:lnTo>
                  <a:pt x="1992" y="1586"/>
                </a:lnTo>
                <a:lnTo>
                  <a:pt x="1984" y="1622"/>
                </a:lnTo>
                <a:lnTo>
                  <a:pt x="1980" y="1660"/>
                </a:lnTo>
                <a:lnTo>
                  <a:pt x="1978" y="1696"/>
                </a:lnTo>
                <a:lnTo>
                  <a:pt x="1976" y="1734"/>
                </a:lnTo>
                <a:lnTo>
                  <a:pt x="1976" y="1734"/>
                </a:lnTo>
                <a:lnTo>
                  <a:pt x="1976" y="1768"/>
                </a:lnTo>
                <a:lnTo>
                  <a:pt x="1980" y="1800"/>
                </a:lnTo>
                <a:lnTo>
                  <a:pt x="1982" y="1834"/>
                </a:lnTo>
                <a:lnTo>
                  <a:pt x="1988" y="1866"/>
                </a:lnTo>
                <a:lnTo>
                  <a:pt x="1994" y="1898"/>
                </a:lnTo>
                <a:lnTo>
                  <a:pt x="2002" y="1928"/>
                </a:lnTo>
                <a:lnTo>
                  <a:pt x="2012" y="1958"/>
                </a:lnTo>
                <a:lnTo>
                  <a:pt x="2022" y="1990"/>
                </a:lnTo>
                <a:lnTo>
                  <a:pt x="2034" y="2018"/>
                </a:lnTo>
                <a:lnTo>
                  <a:pt x="2046" y="2048"/>
                </a:lnTo>
                <a:lnTo>
                  <a:pt x="2060" y="2076"/>
                </a:lnTo>
                <a:lnTo>
                  <a:pt x="2076" y="2102"/>
                </a:lnTo>
                <a:lnTo>
                  <a:pt x="2092" y="2130"/>
                </a:lnTo>
                <a:lnTo>
                  <a:pt x="2110" y="2156"/>
                </a:lnTo>
                <a:lnTo>
                  <a:pt x="2128" y="2180"/>
                </a:lnTo>
                <a:lnTo>
                  <a:pt x="2146" y="2204"/>
                </a:lnTo>
                <a:lnTo>
                  <a:pt x="2168" y="2228"/>
                </a:lnTo>
                <a:lnTo>
                  <a:pt x="2188" y="2252"/>
                </a:lnTo>
                <a:lnTo>
                  <a:pt x="2212" y="2272"/>
                </a:lnTo>
                <a:lnTo>
                  <a:pt x="2234" y="2294"/>
                </a:lnTo>
                <a:lnTo>
                  <a:pt x="2258" y="2314"/>
                </a:lnTo>
                <a:lnTo>
                  <a:pt x="2284" y="2332"/>
                </a:lnTo>
                <a:lnTo>
                  <a:pt x="2310" y="2350"/>
                </a:lnTo>
                <a:lnTo>
                  <a:pt x="2336" y="2366"/>
                </a:lnTo>
                <a:lnTo>
                  <a:pt x="2364" y="2382"/>
                </a:lnTo>
                <a:lnTo>
                  <a:pt x="2392" y="2396"/>
                </a:lnTo>
                <a:lnTo>
                  <a:pt x="2420" y="2410"/>
                </a:lnTo>
                <a:lnTo>
                  <a:pt x="2450" y="2422"/>
                </a:lnTo>
                <a:lnTo>
                  <a:pt x="2480" y="2432"/>
                </a:lnTo>
                <a:lnTo>
                  <a:pt x="2510" y="2442"/>
                </a:lnTo>
                <a:lnTo>
                  <a:pt x="2540" y="2450"/>
                </a:lnTo>
                <a:lnTo>
                  <a:pt x="2572" y="2456"/>
                </a:lnTo>
                <a:lnTo>
                  <a:pt x="2662" y="6388"/>
                </a:lnTo>
                <a:lnTo>
                  <a:pt x="2332" y="6388"/>
                </a:lnTo>
                <a:lnTo>
                  <a:pt x="2332" y="4562"/>
                </a:lnTo>
                <a:lnTo>
                  <a:pt x="1724" y="3834"/>
                </a:lnTo>
                <a:lnTo>
                  <a:pt x="1724" y="3834"/>
                </a:lnTo>
                <a:lnTo>
                  <a:pt x="1774" y="3812"/>
                </a:lnTo>
                <a:lnTo>
                  <a:pt x="1824" y="3786"/>
                </a:lnTo>
                <a:lnTo>
                  <a:pt x="1870" y="3758"/>
                </a:lnTo>
                <a:lnTo>
                  <a:pt x="1914" y="3726"/>
                </a:lnTo>
                <a:lnTo>
                  <a:pt x="1956" y="3690"/>
                </a:lnTo>
                <a:lnTo>
                  <a:pt x="1994" y="3652"/>
                </a:lnTo>
                <a:lnTo>
                  <a:pt x="2030" y="3612"/>
                </a:lnTo>
                <a:lnTo>
                  <a:pt x="2064" y="3568"/>
                </a:lnTo>
                <a:lnTo>
                  <a:pt x="2092" y="3522"/>
                </a:lnTo>
                <a:lnTo>
                  <a:pt x="2120" y="3474"/>
                </a:lnTo>
                <a:lnTo>
                  <a:pt x="2142" y="3424"/>
                </a:lnTo>
                <a:lnTo>
                  <a:pt x="2160" y="3372"/>
                </a:lnTo>
                <a:lnTo>
                  <a:pt x="2176" y="3318"/>
                </a:lnTo>
                <a:lnTo>
                  <a:pt x="2188" y="3262"/>
                </a:lnTo>
                <a:lnTo>
                  <a:pt x="2194" y="3206"/>
                </a:lnTo>
                <a:lnTo>
                  <a:pt x="2196" y="3148"/>
                </a:lnTo>
                <a:lnTo>
                  <a:pt x="2196" y="3148"/>
                </a:lnTo>
                <a:lnTo>
                  <a:pt x="2196" y="3110"/>
                </a:lnTo>
                <a:lnTo>
                  <a:pt x="2192" y="3072"/>
                </a:lnTo>
                <a:lnTo>
                  <a:pt x="2188" y="3036"/>
                </a:lnTo>
                <a:lnTo>
                  <a:pt x="2182" y="3000"/>
                </a:lnTo>
                <a:lnTo>
                  <a:pt x="2172" y="2964"/>
                </a:lnTo>
                <a:lnTo>
                  <a:pt x="2162" y="2930"/>
                </a:lnTo>
                <a:lnTo>
                  <a:pt x="2152" y="2896"/>
                </a:lnTo>
                <a:lnTo>
                  <a:pt x="2138" y="2862"/>
                </a:lnTo>
                <a:lnTo>
                  <a:pt x="2124" y="2830"/>
                </a:lnTo>
                <a:lnTo>
                  <a:pt x="2108" y="2798"/>
                </a:lnTo>
                <a:lnTo>
                  <a:pt x="2090" y="2766"/>
                </a:lnTo>
                <a:lnTo>
                  <a:pt x="2070" y="2738"/>
                </a:lnTo>
                <a:lnTo>
                  <a:pt x="2050" y="2708"/>
                </a:lnTo>
                <a:lnTo>
                  <a:pt x="2028" y="2680"/>
                </a:lnTo>
                <a:lnTo>
                  <a:pt x="2004" y="2654"/>
                </a:lnTo>
                <a:lnTo>
                  <a:pt x="1980" y="2628"/>
                </a:lnTo>
                <a:lnTo>
                  <a:pt x="1954" y="2604"/>
                </a:lnTo>
                <a:lnTo>
                  <a:pt x="1928" y="2580"/>
                </a:lnTo>
                <a:lnTo>
                  <a:pt x="1900" y="2558"/>
                </a:lnTo>
                <a:lnTo>
                  <a:pt x="1872" y="2538"/>
                </a:lnTo>
                <a:lnTo>
                  <a:pt x="1842" y="2520"/>
                </a:lnTo>
                <a:lnTo>
                  <a:pt x="1810" y="2502"/>
                </a:lnTo>
                <a:lnTo>
                  <a:pt x="1780" y="2486"/>
                </a:lnTo>
                <a:lnTo>
                  <a:pt x="1746" y="2470"/>
                </a:lnTo>
                <a:lnTo>
                  <a:pt x="1714" y="2458"/>
                </a:lnTo>
                <a:lnTo>
                  <a:pt x="1680" y="2446"/>
                </a:lnTo>
                <a:lnTo>
                  <a:pt x="1644" y="2436"/>
                </a:lnTo>
                <a:lnTo>
                  <a:pt x="1608" y="2428"/>
                </a:lnTo>
                <a:lnTo>
                  <a:pt x="1572" y="2422"/>
                </a:lnTo>
                <a:lnTo>
                  <a:pt x="1536" y="2416"/>
                </a:lnTo>
                <a:lnTo>
                  <a:pt x="1498" y="2414"/>
                </a:lnTo>
                <a:lnTo>
                  <a:pt x="1460" y="2412"/>
                </a:lnTo>
                <a:lnTo>
                  <a:pt x="1460" y="2412"/>
                </a:lnTo>
                <a:lnTo>
                  <a:pt x="1424" y="2414"/>
                </a:lnTo>
                <a:lnTo>
                  <a:pt x="1386" y="2416"/>
                </a:lnTo>
                <a:lnTo>
                  <a:pt x="1348" y="2422"/>
                </a:lnTo>
                <a:lnTo>
                  <a:pt x="1312" y="2428"/>
                </a:lnTo>
                <a:lnTo>
                  <a:pt x="1278" y="2436"/>
                </a:lnTo>
                <a:lnTo>
                  <a:pt x="1242" y="2446"/>
                </a:lnTo>
                <a:lnTo>
                  <a:pt x="1208" y="2458"/>
                </a:lnTo>
                <a:lnTo>
                  <a:pt x="1174" y="2470"/>
                </a:lnTo>
                <a:lnTo>
                  <a:pt x="1142" y="2486"/>
                </a:lnTo>
                <a:lnTo>
                  <a:pt x="1110" y="2502"/>
                </a:lnTo>
                <a:lnTo>
                  <a:pt x="1080" y="2520"/>
                </a:lnTo>
                <a:lnTo>
                  <a:pt x="1050" y="2538"/>
                </a:lnTo>
                <a:lnTo>
                  <a:pt x="1022" y="2558"/>
                </a:lnTo>
                <a:lnTo>
                  <a:pt x="994" y="2580"/>
                </a:lnTo>
                <a:lnTo>
                  <a:pt x="966" y="2604"/>
                </a:lnTo>
                <a:lnTo>
                  <a:pt x="942" y="2628"/>
                </a:lnTo>
                <a:lnTo>
                  <a:pt x="916" y="2654"/>
                </a:lnTo>
                <a:lnTo>
                  <a:pt x="894" y="2680"/>
                </a:lnTo>
                <a:lnTo>
                  <a:pt x="872" y="2708"/>
                </a:lnTo>
                <a:lnTo>
                  <a:pt x="852" y="2738"/>
                </a:lnTo>
                <a:lnTo>
                  <a:pt x="832" y="2766"/>
                </a:lnTo>
                <a:lnTo>
                  <a:pt x="814" y="2798"/>
                </a:lnTo>
                <a:lnTo>
                  <a:pt x="798" y="2830"/>
                </a:lnTo>
                <a:lnTo>
                  <a:pt x="784" y="2862"/>
                </a:lnTo>
                <a:lnTo>
                  <a:pt x="770" y="2896"/>
                </a:lnTo>
                <a:lnTo>
                  <a:pt x="758" y="2930"/>
                </a:lnTo>
                <a:lnTo>
                  <a:pt x="748" y="2964"/>
                </a:lnTo>
                <a:lnTo>
                  <a:pt x="740" y="3000"/>
                </a:lnTo>
                <a:lnTo>
                  <a:pt x="734" y="3036"/>
                </a:lnTo>
                <a:lnTo>
                  <a:pt x="730" y="3072"/>
                </a:lnTo>
                <a:lnTo>
                  <a:pt x="726" y="3110"/>
                </a:lnTo>
                <a:lnTo>
                  <a:pt x="726" y="3148"/>
                </a:lnTo>
                <a:lnTo>
                  <a:pt x="726" y="3148"/>
                </a:lnTo>
                <a:lnTo>
                  <a:pt x="726" y="3184"/>
                </a:lnTo>
                <a:lnTo>
                  <a:pt x="730" y="3218"/>
                </a:lnTo>
                <a:lnTo>
                  <a:pt x="734" y="3254"/>
                </a:lnTo>
                <a:lnTo>
                  <a:pt x="738" y="3288"/>
                </a:lnTo>
                <a:lnTo>
                  <a:pt x="746" y="3322"/>
                </a:lnTo>
                <a:lnTo>
                  <a:pt x="756" y="3354"/>
                </a:lnTo>
                <a:lnTo>
                  <a:pt x="766" y="3386"/>
                </a:lnTo>
                <a:lnTo>
                  <a:pt x="778" y="3418"/>
                </a:lnTo>
                <a:lnTo>
                  <a:pt x="790" y="3450"/>
                </a:lnTo>
                <a:lnTo>
                  <a:pt x="804" y="3480"/>
                </a:lnTo>
                <a:lnTo>
                  <a:pt x="820" y="3510"/>
                </a:lnTo>
                <a:lnTo>
                  <a:pt x="838" y="3538"/>
                </a:lnTo>
                <a:lnTo>
                  <a:pt x="856" y="3566"/>
                </a:lnTo>
                <a:lnTo>
                  <a:pt x="876" y="3592"/>
                </a:lnTo>
                <a:lnTo>
                  <a:pt x="896" y="3618"/>
                </a:lnTo>
                <a:lnTo>
                  <a:pt x="918" y="3644"/>
                </a:lnTo>
                <a:lnTo>
                  <a:pt x="942" y="3668"/>
                </a:lnTo>
                <a:lnTo>
                  <a:pt x="966" y="3690"/>
                </a:lnTo>
                <a:lnTo>
                  <a:pt x="990" y="3712"/>
                </a:lnTo>
                <a:lnTo>
                  <a:pt x="1016" y="3734"/>
                </a:lnTo>
                <a:lnTo>
                  <a:pt x="1044" y="3752"/>
                </a:lnTo>
                <a:lnTo>
                  <a:pt x="1072" y="3772"/>
                </a:lnTo>
                <a:lnTo>
                  <a:pt x="1100" y="3788"/>
                </a:lnTo>
                <a:lnTo>
                  <a:pt x="1130" y="3804"/>
                </a:lnTo>
                <a:lnTo>
                  <a:pt x="1160" y="3818"/>
                </a:lnTo>
                <a:lnTo>
                  <a:pt x="1192" y="3832"/>
                </a:lnTo>
                <a:lnTo>
                  <a:pt x="1224" y="3844"/>
                </a:lnTo>
                <a:lnTo>
                  <a:pt x="1256" y="3854"/>
                </a:lnTo>
                <a:lnTo>
                  <a:pt x="1288" y="3862"/>
                </a:lnTo>
                <a:lnTo>
                  <a:pt x="1322" y="3870"/>
                </a:lnTo>
                <a:lnTo>
                  <a:pt x="1356" y="3876"/>
                </a:lnTo>
                <a:lnTo>
                  <a:pt x="1392" y="3880"/>
                </a:lnTo>
                <a:lnTo>
                  <a:pt x="2048" y="4666"/>
                </a:lnTo>
                <a:lnTo>
                  <a:pt x="2048" y="6388"/>
                </a:lnTo>
                <a:lnTo>
                  <a:pt x="284" y="6388"/>
                </a:lnTo>
                <a:lnTo>
                  <a:pt x="284" y="284"/>
                </a:lnTo>
                <a:lnTo>
                  <a:pt x="6389" y="284"/>
                </a:lnTo>
                <a:lnTo>
                  <a:pt x="6389" y="6388"/>
                </a:lnTo>
                <a:close/>
                <a:moveTo>
                  <a:pt x="5213" y="2314"/>
                </a:moveTo>
                <a:lnTo>
                  <a:pt x="5213" y="2314"/>
                </a:lnTo>
                <a:lnTo>
                  <a:pt x="5167" y="2312"/>
                </a:lnTo>
                <a:lnTo>
                  <a:pt x="5123" y="2304"/>
                </a:lnTo>
                <a:lnTo>
                  <a:pt x="5079" y="2294"/>
                </a:lnTo>
                <a:lnTo>
                  <a:pt x="5039" y="2278"/>
                </a:lnTo>
                <a:lnTo>
                  <a:pt x="4999" y="2260"/>
                </a:lnTo>
                <a:lnTo>
                  <a:pt x="4961" y="2236"/>
                </a:lnTo>
                <a:lnTo>
                  <a:pt x="4927" y="2210"/>
                </a:lnTo>
                <a:lnTo>
                  <a:pt x="4895" y="2182"/>
                </a:lnTo>
                <a:lnTo>
                  <a:pt x="4865" y="2150"/>
                </a:lnTo>
                <a:lnTo>
                  <a:pt x="4839" y="2114"/>
                </a:lnTo>
                <a:lnTo>
                  <a:pt x="4817" y="2078"/>
                </a:lnTo>
                <a:lnTo>
                  <a:pt x="4799" y="2038"/>
                </a:lnTo>
                <a:lnTo>
                  <a:pt x="4783" y="1996"/>
                </a:lnTo>
                <a:lnTo>
                  <a:pt x="4771" y="1954"/>
                </a:lnTo>
                <a:lnTo>
                  <a:pt x="4765" y="1910"/>
                </a:lnTo>
                <a:lnTo>
                  <a:pt x="4763" y="1864"/>
                </a:lnTo>
                <a:lnTo>
                  <a:pt x="4763" y="1864"/>
                </a:lnTo>
                <a:lnTo>
                  <a:pt x="4765" y="1818"/>
                </a:lnTo>
                <a:lnTo>
                  <a:pt x="4771" y="1772"/>
                </a:lnTo>
                <a:lnTo>
                  <a:pt x="4783" y="1730"/>
                </a:lnTo>
                <a:lnTo>
                  <a:pt x="4799" y="1688"/>
                </a:lnTo>
                <a:lnTo>
                  <a:pt x="4817" y="1648"/>
                </a:lnTo>
                <a:lnTo>
                  <a:pt x="4839" y="1612"/>
                </a:lnTo>
                <a:lnTo>
                  <a:pt x="4865" y="1576"/>
                </a:lnTo>
                <a:lnTo>
                  <a:pt x="4895" y="1544"/>
                </a:lnTo>
                <a:lnTo>
                  <a:pt x="4927" y="1516"/>
                </a:lnTo>
                <a:lnTo>
                  <a:pt x="4961" y="1490"/>
                </a:lnTo>
                <a:lnTo>
                  <a:pt x="4999" y="1466"/>
                </a:lnTo>
                <a:lnTo>
                  <a:pt x="5039" y="1448"/>
                </a:lnTo>
                <a:lnTo>
                  <a:pt x="5079" y="1432"/>
                </a:lnTo>
                <a:lnTo>
                  <a:pt x="5123" y="1422"/>
                </a:lnTo>
                <a:lnTo>
                  <a:pt x="5167" y="1414"/>
                </a:lnTo>
                <a:lnTo>
                  <a:pt x="5213" y="1412"/>
                </a:lnTo>
                <a:lnTo>
                  <a:pt x="5213" y="1412"/>
                </a:lnTo>
                <a:lnTo>
                  <a:pt x="5259" y="1414"/>
                </a:lnTo>
                <a:lnTo>
                  <a:pt x="5305" y="1422"/>
                </a:lnTo>
                <a:lnTo>
                  <a:pt x="5347" y="1432"/>
                </a:lnTo>
                <a:lnTo>
                  <a:pt x="5389" y="1448"/>
                </a:lnTo>
                <a:lnTo>
                  <a:pt x="5429" y="1466"/>
                </a:lnTo>
                <a:lnTo>
                  <a:pt x="5465" y="1490"/>
                </a:lnTo>
                <a:lnTo>
                  <a:pt x="5499" y="1516"/>
                </a:lnTo>
                <a:lnTo>
                  <a:pt x="5531" y="1544"/>
                </a:lnTo>
                <a:lnTo>
                  <a:pt x="5561" y="1576"/>
                </a:lnTo>
                <a:lnTo>
                  <a:pt x="5587" y="1612"/>
                </a:lnTo>
                <a:lnTo>
                  <a:pt x="5609" y="1648"/>
                </a:lnTo>
                <a:lnTo>
                  <a:pt x="5629" y="1688"/>
                </a:lnTo>
                <a:lnTo>
                  <a:pt x="5643" y="1730"/>
                </a:lnTo>
                <a:lnTo>
                  <a:pt x="5655" y="1772"/>
                </a:lnTo>
                <a:lnTo>
                  <a:pt x="5661" y="1818"/>
                </a:lnTo>
                <a:lnTo>
                  <a:pt x="5665" y="1864"/>
                </a:lnTo>
                <a:lnTo>
                  <a:pt x="5665" y="1864"/>
                </a:lnTo>
                <a:lnTo>
                  <a:pt x="5661" y="1910"/>
                </a:lnTo>
                <a:lnTo>
                  <a:pt x="5655" y="1954"/>
                </a:lnTo>
                <a:lnTo>
                  <a:pt x="5643" y="1996"/>
                </a:lnTo>
                <a:lnTo>
                  <a:pt x="5629" y="2038"/>
                </a:lnTo>
                <a:lnTo>
                  <a:pt x="5609" y="2078"/>
                </a:lnTo>
                <a:lnTo>
                  <a:pt x="5587" y="2114"/>
                </a:lnTo>
                <a:lnTo>
                  <a:pt x="5561" y="2150"/>
                </a:lnTo>
                <a:lnTo>
                  <a:pt x="5531" y="2182"/>
                </a:lnTo>
                <a:lnTo>
                  <a:pt x="5499" y="2210"/>
                </a:lnTo>
                <a:lnTo>
                  <a:pt x="5465" y="2236"/>
                </a:lnTo>
                <a:lnTo>
                  <a:pt x="5429" y="2260"/>
                </a:lnTo>
                <a:lnTo>
                  <a:pt x="5389" y="2278"/>
                </a:lnTo>
                <a:lnTo>
                  <a:pt x="5347" y="2294"/>
                </a:lnTo>
                <a:lnTo>
                  <a:pt x="5305" y="2304"/>
                </a:lnTo>
                <a:lnTo>
                  <a:pt x="5259" y="2312"/>
                </a:lnTo>
                <a:lnTo>
                  <a:pt x="5213" y="2314"/>
                </a:lnTo>
                <a:lnTo>
                  <a:pt x="5213" y="2314"/>
                </a:lnTo>
                <a:close/>
                <a:moveTo>
                  <a:pt x="3963" y="3548"/>
                </a:moveTo>
                <a:lnTo>
                  <a:pt x="3963" y="3548"/>
                </a:lnTo>
                <a:lnTo>
                  <a:pt x="3917" y="3544"/>
                </a:lnTo>
                <a:lnTo>
                  <a:pt x="3873" y="3538"/>
                </a:lnTo>
                <a:lnTo>
                  <a:pt x="3829" y="3526"/>
                </a:lnTo>
                <a:lnTo>
                  <a:pt x="3787" y="3512"/>
                </a:lnTo>
                <a:lnTo>
                  <a:pt x="3749" y="3492"/>
                </a:lnTo>
                <a:lnTo>
                  <a:pt x="3711" y="3470"/>
                </a:lnTo>
                <a:lnTo>
                  <a:pt x="3677" y="3444"/>
                </a:lnTo>
                <a:lnTo>
                  <a:pt x="3645" y="3414"/>
                </a:lnTo>
                <a:lnTo>
                  <a:pt x="3615" y="3382"/>
                </a:lnTo>
                <a:lnTo>
                  <a:pt x="3589" y="3348"/>
                </a:lnTo>
                <a:lnTo>
                  <a:pt x="3567" y="3312"/>
                </a:lnTo>
                <a:lnTo>
                  <a:pt x="3547" y="3272"/>
                </a:lnTo>
                <a:lnTo>
                  <a:pt x="3533" y="3230"/>
                </a:lnTo>
                <a:lnTo>
                  <a:pt x="3521" y="3188"/>
                </a:lnTo>
                <a:lnTo>
                  <a:pt x="3515" y="3142"/>
                </a:lnTo>
                <a:lnTo>
                  <a:pt x="3513" y="3096"/>
                </a:lnTo>
                <a:lnTo>
                  <a:pt x="3513" y="3096"/>
                </a:lnTo>
                <a:lnTo>
                  <a:pt x="3515" y="3050"/>
                </a:lnTo>
                <a:lnTo>
                  <a:pt x="3521" y="3006"/>
                </a:lnTo>
                <a:lnTo>
                  <a:pt x="3533" y="2962"/>
                </a:lnTo>
                <a:lnTo>
                  <a:pt x="3547" y="2922"/>
                </a:lnTo>
                <a:lnTo>
                  <a:pt x="3567" y="2882"/>
                </a:lnTo>
                <a:lnTo>
                  <a:pt x="3589" y="2844"/>
                </a:lnTo>
                <a:lnTo>
                  <a:pt x="3615" y="2810"/>
                </a:lnTo>
                <a:lnTo>
                  <a:pt x="3645" y="2778"/>
                </a:lnTo>
                <a:lnTo>
                  <a:pt x="3677" y="2748"/>
                </a:lnTo>
                <a:lnTo>
                  <a:pt x="3711" y="2722"/>
                </a:lnTo>
                <a:lnTo>
                  <a:pt x="3749" y="2700"/>
                </a:lnTo>
                <a:lnTo>
                  <a:pt x="3787" y="2682"/>
                </a:lnTo>
                <a:lnTo>
                  <a:pt x="3829" y="2666"/>
                </a:lnTo>
                <a:lnTo>
                  <a:pt x="3873" y="2654"/>
                </a:lnTo>
                <a:lnTo>
                  <a:pt x="3917" y="2648"/>
                </a:lnTo>
                <a:lnTo>
                  <a:pt x="3963" y="2646"/>
                </a:lnTo>
                <a:lnTo>
                  <a:pt x="3963" y="2646"/>
                </a:lnTo>
                <a:lnTo>
                  <a:pt x="4009" y="2648"/>
                </a:lnTo>
                <a:lnTo>
                  <a:pt x="4053" y="2654"/>
                </a:lnTo>
                <a:lnTo>
                  <a:pt x="4097" y="2666"/>
                </a:lnTo>
                <a:lnTo>
                  <a:pt x="4139" y="2682"/>
                </a:lnTo>
                <a:lnTo>
                  <a:pt x="4177" y="2700"/>
                </a:lnTo>
                <a:lnTo>
                  <a:pt x="4215" y="2722"/>
                </a:lnTo>
                <a:lnTo>
                  <a:pt x="4249" y="2748"/>
                </a:lnTo>
                <a:lnTo>
                  <a:pt x="4281" y="2778"/>
                </a:lnTo>
                <a:lnTo>
                  <a:pt x="4311" y="2810"/>
                </a:lnTo>
                <a:lnTo>
                  <a:pt x="4337" y="2844"/>
                </a:lnTo>
                <a:lnTo>
                  <a:pt x="4359" y="2882"/>
                </a:lnTo>
                <a:lnTo>
                  <a:pt x="4379" y="2922"/>
                </a:lnTo>
                <a:lnTo>
                  <a:pt x="4393" y="2962"/>
                </a:lnTo>
                <a:lnTo>
                  <a:pt x="4405" y="3006"/>
                </a:lnTo>
                <a:lnTo>
                  <a:pt x="4411" y="3050"/>
                </a:lnTo>
                <a:lnTo>
                  <a:pt x="4413" y="3096"/>
                </a:lnTo>
                <a:lnTo>
                  <a:pt x="4413" y="3096"/>
                </a:lnTo>
                <a:lnTo>
                  <a:pt x="4411" y="3142"/>
                </a:lnTo>
                <a:lnTo>
                  <a:pt x="4405" y="3188"/>
                </a:lnTo>
                <a:lnTo>
                  <a:pt x="4393" y="3230"/>
                </a:lnTo>
                <a:lnTo>
                  <a:pt x="4379" y="3272"/>
                </a:lnTo>
                <a:lnTo>
                  <a:pt x="4359" y="3312"/>
                </a:lnTo>
                <a:lnTo>
                  <a:pt x="4337" y="3348"/>
                </a:lnTo>
                <a:lnTo>
                  <a:pt x="4311" y="3382"/>
                </a:lnTo>
                <a:lnTo>
                  <a:pt x="4281" y="3414"/>
                </a:lnTo>
                <a:lnTo>
                  <a:pt x="4249" y="3444"/>
                </a:lnTo>
                <a:lnTo>
                  <a:pt x="4215" y="3470"/>
                </a:lnTo>
                <a:lnTo>
                  <a:pt x="4177" y="3492"/>
                </a:lnTo>
                <a:lnTo>
                  <a:pt x="4139" y="3512"/>
                </a:lnTo>
                <a:lnTo>
                  <a:pt x="4097" y="3526"/>
                </a:lnTo>
                <a:lnTo>
                  <a:pt x="4053" y="3538"/>
                </a:lnTo>
                <a:lnTo>
                  <a:pt x="4009" y="3544"/>
                </a:lnTo>
                <a:lnTo>
                  <a:pt x="3963" y="3548"/>
                </a:lnTo>
                <a:lnTo>
                  <a:pt x="3963" y="3548"/>
                </a:lnTo>
                <a:close/>
                <a:moveTo>
                  <a:pt x="1010" y="3148"/>
                </a:moveTo>
                <a:lnTo>
                  <a:pt x="1010" y="3148"/>
                </a:lnTo>
                <a:lnTo>
                  <a:pt x="1012" y="3102"/>
                </a:lnTo>
                <a:lnTo>
                  <a:pt x="1020" y="3058"/>
                </a:lnTo>
                <a:lnTo>
                  <a:pt x="1030" y="3014"/>
                </a:lnTo>
                <a:lnTo>
                  <a:pt x="1046" y="2972"/>
                </a:lnTo>
                <a:lnTo>
                  <a:pt x="1064" y="2934"/>
                </a:lnTo>
                <a:lnTo>
                  <a:pt x="1088" y="2896"/>
                </a:lnTo>
                <a:lnTo>
                  <a:pt x="1114" y="2862"/>
                </a:lnTo>
                <a:lnTo>
                  <a:pt x="1142" y="2830"/>
                </a:lnTo>
                <a:lnTo>
                  <a:pt x="1174" y="2800"/>
                </a:lnTo>
                <a:lnTo>
                  <a:pt x="1210" y="2774"/>
                </a:lnTo>
                <a:lnTo>
                  <a:pt x="1246" y="2752"/>
                </a:lnTo>
                <a:lnTo>
                  <a:pt x="1286" y="2732"/>
                </a:lnTo>
                <a:lnTo>
                  <a:pt x="1326" y="2718"/>
                </a:lnTo>
                <a:lnTo>
                  <a:pt x="1370" y="2706"/>
                </a:lnTo>
                <a:lnTo>
                  <a:pt x="1414" y="2700"/>
                </a:lnTo>
                <a:lnTo>
                  <a:pt x="1460" y="2698"/>
                </a:lnTo>
                <a:lnTo>
                  <a:pt x="1460" y="2698"/>
                </a:lnTo>
                <a:lnTo>
                  <a:pt x="1506" y="2700"/>
                </a:lnTo>
                <a:lnTo>
                  <a:pt x="1552" y="2706"/>
                </a:lnTo>
                <a:lnTo>
                  <a:pt x="1594" y="2718"/>
                </a:lnTo>
                <a:lnTo>
                  <a:pt x="1636" y="2732"/>
                </a:lnTo>
                <a:lnTo>
                  <a:pt x="1676" y="2752"/>
                </a:lnTo>
                <a:lnTo>
                  <a:pt x="1712" y="2774"/>
                </a:lnTo>
                <a:lnTo>
                  <a:pt x="1748" y="2800"/>
                </a:lnTo>
                <a:lnTo>
                  <a:pt x="1780" y="2830"/>
                </a:lnTo>
                <a:lnTo>
                  <a:pt x="1808" y="2862"/>
                </a:lnTo>
                <a:lnTo>
                  <a:pt x="1834" y="2896"/>
                </a:lnTo>
                <a:lnTo>
                  <a:pt x="1856" y="2934"/>
                </a:lnTo>
                <a:lnTo>
                  <a:pt x="1876" y="2972"/>
                </a:lnTo>
                <a:lnTo>
                  <a:pt x="1892" y="3014"/>
                </a:lnTo>
                <a:lnTo>
                  <a:pt x="1902" y="3058"/>
                </a:lnTo>
                <a:lnTo>
                  <a:pt x="1910" y="3102"/>
                </a:lnTo>
                <a:lnTo>
                  <a:pt x="1912" y="3148"/>
                </a:lnTo>
                <a:lnTo>
                  <a:pt x="1912" y="3148"/>
                </a:lnTo>
                <a:lnTo>
                  <a:pt x="1910" y="3194"/>
                </a:lnTo>
                <a:lnTo>
                  <a:pt x="1902" y="3238"/>
                </a:lnTo>
                <a:lnTo>
                  <a:pt x="1892" y="3282"/>
                </a:lnTo>
                <a:lnTo>
                  <a:pt x="1876" y="3324"/>
                </a:lnTo>
                <a:lnTo>
                  <a:pt x="1856" y="3362"/>
                </a:lnTo>
                <a:lnTo>
                  <a:pt x="1834" y="3400"/>
                </a:lnTo>
                <a:lnTo>
                  <a:pt x="1808" y="3434"/>
                </a:lnTo>
                <a:lnTo>
                  <a:pt x="1780" y="3466"/>
                </a:lnTo>
                <a:lnTo>
                  <a:pt x="1748" y="3496"/>
                </a:lnTo>
                <a:lnTo>
                  <a:pt x="1712" y="3522"/>
                </a:lnTo>
                <a:lnTo>
                  <a:pt x="1676" y="3544"/>
                </a:lnTo>
                <a:lnTo>
                  <a:pt x="1636" y="3564"/>
                </a:lnTo>
                <a:lnTo>
                  <a:pt x="1594" y="3578"/>
                </a:lnTo>
                <a:lnTo>
                  <a:pt x="1552" y="3590"/>
                </a:lnTo>
                <a:lnTo>
                  <a:pt x="1506" y="3596"/>
                </a:lnTo>
                <a:lnTo>
                  <a:pt x="1460" y="3598"/>
                </a:lnTo>
                <a:lnTo>
                  <a:pt x="1460" y="3598"/>
                </a:lnTo>
                <a:lnTo>
                  <a:pt x="1414" y="3596"/>
                </a:lnTo>
                <a:lnTo>
                  <a:pt x="1370" y="3590"/>
                </a:lnTo>
                <a:lnTo>
                  <a:pt x="1326" y="3578"/>
                </a:lnTo>
                <a:lnTo>
                  <a:pt x="1286" y="3564"/>
                </a:lnTo>
                <a:lnTo>
                  <a:pt x="1246" y="3544"/>
                </a:lnTo>
                <a:lnTo>
                  <a:pt x="1210" y="3522"/>
                </a:lnTo>
                <a:lnTo>
                  <a:pt x="1174" y="3496"/>
                </a:lnTo>
                <a:lnTo>
                  <a:pt x="1142" y="3466"/>
                </a:lnTo>
                <a:lnTo>
                  <a:pt x="1114" y="3434"/>
                </a:lnTo>
                <a:lnTo>
                  <a:pt x="1088" y="3400"/>
                </a:lnTo>
                <a:lnTo>
                  <a:pt x="1064" y="3362"/>
                </a:lnTo>
                <a:lnTo>
                  <a:pt x="1046" y="3324"/>
                </a:lnTo>
                <a:lnTo>
                  <a:pt x="1030" y="3282"/>
                </a:lnTo>
                <a:lnTo>
                  <a:pt x="1020" y="3238"/>
                </a:lnTo>
                <a:lnTo>
                  <a:pt x="1012" y="3194"/>
                </a:lnTo>
                <a:lnTo>
                  <a:pt x="1010" y="3148"/>
                </a:lnTo>
                <a:lnTo>
                  <a:pt x="1010" y="3148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8625" tIns="29300" rIns="58625" bIns="293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5" name="Google Shape;555;p57"/>
          <p:cNvSpPr/>
          <p:nvPr/>
        </p:nvSpPr>
        <p:spPr>
          <a:xfrm>
            <a:off x="7365390" y="1790032"/>
            <a:ext cx="776057" cy="719015"/>
          </a:xfrm>
          <a:custGeom>
            <a:avLst/>
            <a:gdLst/>
            <a:ahLst/>
            <a:cxnLst/>
            <a:rect l="l" t="t" r="r" b="b"/>
            <a:pathLst>
              <a:path w="6709" h="6708" extrusionOk="0">
                <a:moveTo>
                  <a:pt x="6709" y="0"/>
                </a:moveTo>
                <a:lnTo>
                  <a:pt x="0" y="0"/>
                </a:lnTo>
                <a:lnTo>
                  <a:pt x="0" y="6708"/>
                </a:lnTo>
                <a:lnTo>
                  <a:pt x="6709" y="6708"/>
                </a:lnTo>
                <a:lnTo>
                  <a:pt x="6709" y="6708"/>
                </a:lnTo>
                <a:lnTo>
                  <a:pt x="6709" y="0"/>
                </a:lnTo>
                <a:lnTo>
                  <a:pt x="6709" y="0"/>
                </a:lnTo>
                <a:close/>
                <a:moveTo>
                  <a:pt x="1574" y="4746"/>
                </a:moveTo>
                <a:lnTo>
                  <a:pt x="1618" y="4708"/>
                </a:lnTo>
                <a:lnTo>
                  <a:pt x="2926" y="5432"/>
                </a:lnTo>
                <a:lnTo>
                  <a:pt x="2530" y="5772"/>
                </a:lnTo>
                <a:lnTo>
                  <a:pt x="2530" y="5772"/>
                </a:lnTo>
                <a:lnTo>
                  <a:pt x="2520" y="5780"/>
                </a:lnTo>
                <a:lnTo>
                  <a:pt x="2508" y="5788"/>
                </a:lnTo>
                <a:lnTo>
                  <a:pt x="2496" y="5794"/>
                </a:lnTo>
                <a:lnTo>
                  <a:pt x="2484" y="5798"/>
                </a:lnTo>
                <a:lnTo>
                  <a:pt x="2470" y="5802"/>
                </a:lnTo>
                <a:lnTo>
                  <a:pt x="2456" y="5804"/>
                </a:lnTo>
                <a:lnTo>
                  <a:pt x="2444" y="5806"/>
                </a:lnTo>
                <a:lnTo>
                  <a:pt x="2430" y="5806"/>
                </a:lnTo>
                <a:lnTo>
                  <a:pt x="2430" y="5806"/>
                </a:lnTo>
                <a:lnTo>
                  <a:pt x="2416" y="5804"/>
                </a:lnTo>
                <a:lnTo>
                  <a:pt x="2402" y="5800"/>
                </a:lnTo>
                <a:lnTo>
                  <a:pt x="2390" y="5796"/>
                </a:lnTo>
                <a:lnTo>
                  <a:pt x="2376" y="5790"/>
                </a:lnTo>
                <a:lnTo>
                  <a:pt x="2364" y="5784"/>
                </a:lnTo>
                <a:lnTo>
                  <a:pt x="2352" y="5774"/>
                </a:lnTo>
                <a:lnTo>
                  <a:pt x="2342" y="5764"/>
                </a:lnTo>
                <a:lnTo>
                  <a:pt x="2330" y="5752"/>
                </a:lnTo>
                <a:lnTo>
                  <a:pt x="1560" y="4940"/>
                </a:lnTo>
                <a:lnTo>
                  <a:pt x="1560" y="4940"/>
                </a:lnTo>
                <a:lnTo>
                  <a:pt x="1552" y="4930"/>
                </a:lnTo>
                <a:lnTo>
                  <a:pt x="1544" y="4918"/>
                </a:lnTo>
                <a:lnTo>
                  <a:pt x="1538" y="4906"/>
                </a:lnTo>
                <a:lnTo>
                  <a:pt x="1534" y="4892"/>
                </a:lnTo>
                <a:lnTo>
                  <a:pt x="1530" y="4880"/>
                </a:lnTo>
                <a:lnTo>
                  <a:pt x="1528" y="4866"/>
                </a:lnTo>
                <a:lnTo>
                  <a:pt x="1526" y="4854"/>
                </a:lnTo>
                <a:lnTo>
                  <a:pt x="1528" y="4840"/>
                </a:lnTo>
                <a:lnTo>
                  <a:pt x="1528" y="4828"/>
                </a:lnTo>
                <a:lnTo>
                  <a:pt x="1532" y="4814"/>
                </a:lnTo>
                <a:lnTo>
                  <a:pt x="1536" y="4802"/>
                </a:lnTo>
                <a:lnTo>
                  <a:pt x="1540" y="4790"/>
                </a:lnTo>
                <a:lnTo>
                  <a:pt x="1548" y="4778"/>
                </a:lnTo>
                <a:lnTo>
                  <a:pt x="1554" y="4766"/>
                </a:lnTo>
                <a:lnTo>
                  <a:pt x="1564" y="4756"/>
                </a:lnTo>
                <a:lnTo>
                  <a:pt x="1574" y="4746"/>
                </a:lnTo>
                <a:lnTo>
                  <a:pt x="1574" y="4746"/>
                </a:lnTo>
                <a:close/>
                <a:moveTo>
                  <a:pt x="1658" y="4404"/>
                </a:moveTo>
                <a:lnTo>
                  <a:pt x="1658" y="4404"/>
                </a:lnTo>
                <a:lnTo>
                  <a:pt x="1630" y="4386"/>
                </a:lnTo>
                <a:lnTo>
                  <a:pt x="1602" y="4368"/>
                </a:lnTo>
                <a:lnTo>
                  <a:pt x="1576" y="4348"/>
                </a:lnTo>
                <a:lnTo>
                  <a:pt x="1550" y="4326"/>
                </a:lnTo>
                <a:lnTo>
                  <a:pt x="1526" y="4304"/>
                </a:lnTo>
                <a:lnTo>
                  <a:pt x="1504" y="4280"/>
                </a:lnTo>
                <a:lnTo>
                  <a:pt x="1484" y="4254"/>
                </a:lnTo>
                <a:lnTo>
                  <a:pt x="1464" y="4228"/>
                </a:lnTo>
                <a:lnTo>
                  <a:pt x="1446" y="4202"/>
                </a:lnTo>
                <a:lnTo>
                  <a:pt x="1428" y="4174"/>
                </a:lnTo>
                <a:lnTo>
                  <a:pt x="1414" y="4144"/>
                </a:lnTo>
                <a:lnTo>
                  <a:pt x="1400" y="4114"/>
                </a:lnTo>
                <a:lnTo>
                  <a:pt x="1388" y="4084"/>
                </a:lnTo>
                <a:lnTo>
                  <a:pt x="1378" y="4052"/>
                </a:lnTo>
                <a:lnTo>
                  <a:pt x="1368" y="4020"/>
                </a:lnTo>
                <a:lnTo>
                  <a:pt x="1362" y="3988"/>
                </a:lnTo>
                <a:lnTo>
                  <a:pt x="1238" y="3310"/>
                </a:lnTo>
                <a:lnTo>
                  <a:pt x="286" y="2752"/>
                </a:lnTo>
                <a:lnTo>
                  <a:pt x="286" y="1148"/>
                </a:lnTo>
                <a:lnTo>
                  <a:pt x="1868" y="2096"/>
                </a:lnTo>
                <a:lnTo>
                  <a:pt x="2494" y="1794"/>
                </a:lnTo>
                <a:lnTo>
                  <a:pt x="2494" y="1794"/>
                </a:lnTo>
                <a:lnTo>
                  <a:pt x="2532" y="1776"/>
                </a:lnTo>
                <a:lnTo>
                  <a:pt x="2570" y="1762"/>
                </a:lnTo>
                <a:lnTo>
                  <a:pt x="2608" y="1752"/>
                </a:lnTo>
                <a:lnTo>
                  <a:pt x="2646" y="1742"/>
                </a:lnTo>
                <a:lnTo>
                  <a:pt x="2684" y="1736"/>
                </a:lnTo>
                <a:lnTo>
                  <a:pt x="2724" y="1730"/>
                </a:lnTo>
                <a:lnTo>
                  <a:pt x="2764" y="1728"/>
                </a:lnTo>
                <a:lnTo>
                  <a:pt x="2802" y="1730"/>
                </a:lnTo>
                <a:lnTo>
                  <a:pt x="2842" y="1732"/>
                </a:lnTo>
                <a:lnTo>
                  <a:pt x="2880" y="1738"/>
                </a:lnTo>
                <a:lnTo>
                  <a:pt x="2918" y="1744"/>
                </a:lnTo>
                <a:lnTo>
                  <a:pt x="2958" y="1754"/>
                </a:lnTo>
                <a:lnTo>
                  <a:pt x="2994" y="1766"/>
                </a:lnTo>
                <a:lnTo>
                  <a:pt x="3032" y="1782"/>
                </a:lnTo>
                <a:lnTo>
                  <a:pt x="3068" y="1798"/>
                </a:lnTo>
                <a:lnTo>
                  <a:pt x="3104" y="1818"/>
                </a:lnTo>
                <a:lnTo>
                  <a:pt x="3162" y="1850"/>
                </a:lnTo>
                <a:lnTo>
                  <a:pt x="1732" y="3102"/>
                </a:lnTo>
                <a:lnTo>
                  <a:pt x="1732" y="3102"/>
                </a:lnTo>
                <a:lnTo>
                  <a:pt x="1698" y="3134"/>
                </a:lnTo>
                <a:lnTo>
                  <a:pt x="1666" y="3172"/>
                </a:lnTo>
                <a:lnTo>
                  <a:pt x="1638" y="3212"/>
                </a:lnTo>
                <a:lnTo>
                  <a:pt x="1616" y="3254"/>
                </a:lnTo>
                <a:lnTo>
                  <a:pt x="1596" y="3296"/>
                </a:lnTo>
                <a:lnTo>
                  <a:pt x="1582" y="3342"/>
                </a:lnTo>
                <a:lnTo>
                  <a:pt x="1572" y="3390"/>
                </a:lnTo>
                <a:lnTo>
                  <a:pt x="1566" y="3438"/>
                </a:lnTo>
                <a:lnTo>
                  <a:pt x="1566" y="3438"/>
                </a:lnTo>
                <a:lnTo>
                  <a:pt x="1564" y="3488"/>
                </a:lnTo>
                <a:lnTo>
                  <a:pt x="1568" y="3536"/>
                </a:lnTo>
                <a:lnTo>
                  <a:pt x="1578" y="3582"/>
                </a:lnTo>
                <a:lnTo>
                  <a:pt x="1590" y="3628"/>
                </a:lnTo>
                <a:lnTo>
                  <a:pt x="1608" y="3674"/>
                </a:lnTo>
                <a:lnTo>
                  <a:pt x="1630" y="3716"/>
                </a:lnTo>
                <a:lnTo>
                  <a:pt x="1656" y="3756"/>
                </a:lnTo>
                <a:lnTo>
                  <a:pt x="1686" y="3794"/>
                </a:lnTo>
                <a:lnTo>
                  <a:pt x="1686" y="3794"/>
                </a:lnTo>
                <a:lnTo>
                  <a:pt x="1704" y="3814"/>
                </a:lnTo>
                <a:lnTo>
                  <a:pt x="1722" y="3832"/>
                </a:lnTo>
                <a:lnTo>
                  <a:pt x="1740" y="3848"/>
                </a:lnTo>
                <a:lnTo>
                  <a:pt x="1760" y="3862"/>
                </a:lnTo>
                <a:lnTo>
                  <a:pt x="1778" y="3878"/>
                </a:lnTo>
                <a:lnTo>
                  <a:pt x="1800" y="3890"/>
                </a:lnTo>
                <a:lnTo>
                  <a:pt x="1842" y="3914"/>
                </a:lnTo>
                <a:lnTo>
                  <a:pt x="1886" y="3932"/>
                </a:lnTo>
                <a:lnTo>
                  <a:pt x="1930" y="3946"/>
                </a:lnTo>
                <a:lnTo>
                  <a:pt x="1978" y="3956"/>
                </a:lnTo>
                <a:lnTo>
                  <a:pt x="2024" y="3962"/>
                </a:lnTo>
                <a:lnTo>
                  <a:pt x="2072" y="3962"/>
                </a:lnTo>
                <a:lnTo>
                  <a:pt x="2118" y="3958"/>
                </a:lnTo>
                <a:lnTo>
                  <a:pt x="2166" y="3950"/>
                </a:lnTo>
                <a:lnTo>
                  <a:pt x="2212" y="3938"/>
                </a:lnTo>
                <a:lnTo>
                  <a:pt x="2256" y="3920"/>
                </a:lnTo>
                <a:lnTo>
                  <a:pt x="2278" y="3910"/>
                </a:lnTo>
                <a:lnTo>
                  <a:pt x="2300" y="3898"/>
                </a:lnTo>
                <a:lnTo>
                  <a:pt x="2320" y="3886"/>
                </a:lnTo>
                <a:lnTo>
                  <a:pt x="2342" y="3872"/>
                </a:lnTo>
                <a:lnTo>
                  <a:pt x="2362" y="3856"/>
                </a:lnTo>
                <a:lnTo>
                  <a:pt x="2382" y="3840"/>
                </a:lnTo>
                <a:lnTo>
                  <a:pt x="2882" y="3398"/>
                </a:lnTo>
                <a:lnTo>
                  <a:pt x="2882" y="3398"/>
                </a:lnTo>
                <a:lnTo>
                  <a:pt x="2928" y="3360"/>
                </a:lnTo>
                <a:lnTo>
                  <a:pt x="2976" y="3326"/>
                </a:lnTo>
                <a:lnTo>
                  <a:pt x="3024" y="3296"/>
                </a:lnTo>
                <a:lnTo>
                  <a:pt x="3074" y="3272"/>
                </a:lnTo>
                <a:lnTo>
                  <a:pt x="3122" y="3252"/>
                </a:lnTo>
                <a:lnTo>
                  <a:pt x="3148" y="3244"/>
                </a:lnTo>
                <a:lnTo>
                  <a:pt x="3172" y="3238"/>
                </a:lnTo>
                <a:lnTo>
                  <a:pt x="3198" y="3232"/>
                </a:lnTo>
                <a:lnTo>
                  <a:pt x="3222" y="3228"/>
                </a:lnTo>
                <a:lnTo>
                  <a:pt x="3248" y="3226"/>
                </a:lnTo>
                <a:lnTo>
                  <a:pt x="3274" y="3224"/>
                </a:lnTo>
                <a:lnTo>
                  <a:pt x="3298" y="3222"/>
                </a:lnTo>
                <a:lnTo>
                  <a:pt x="3324" y="3224"/>
                </a:lnTo>
                <a:lnTo>
                  <a:pt x="3377" y="3228"/>
                </a:lnTo>
                <a:lnTo>
                  <a:pt x="3429" y="3238"/>
                </a:lnTo>
                <a:lnTo>
                  <a:pt x="3483" y="3254"/>
                </a:lnTo>
                <a:lnTo>
                  <a:pt x="3537" y="3272"/>
                </a:lnTo>
                <a:lnTo>
                  <a:pt x="3591" y="3298"/>
                </a:lnTo>
                <a:lnTo>
                  <a:pt x="3645" y="3326"/>
                </a:lnTo>
                <a:lnTo>
                  <a:pt x="3701" y="3360"/>
                </a:lnTo>
                <a:lnTo>
                  <a:pt x="5341" y="4200"/>
                </a:lnTo>
                <a:lnTo>
                  <a:pt x="5341" y="4200"/>
                </a:lnTo>
                <a:lnTo>
                  <a:pt x="5349" y="4204"/>
                </a:lnTo>
                <a:lnTo>
                  <a:pt x="5357" y="4210"/>
                </a:lnTo>
                <a:lnTo>
                  <a:pt x="5365" y="4224"/>
                </a:lnTo>
                <a:lnTo>
                  <a:pt x="5371" y="4236"/>
                </a:lnTo>
                <a:lnTo>
                  <a:pt x="5373" y="4246"/>
                </a:lnTo>
                <a:lnTo>
                  <a:pt x="5373" y="4246"/>
                </a:lnTo>
                <a:lnTo>
                  <a:pt x="5373" y="4258"/>
                </a:lnTo>
                <a:lnTo>
                  <a:pt x="5373" y="4270"/>
                </a:lnTo>
                <a:lnTo>
                  <a:pt x="5367" y="4284"/>
                </a:lnTo>
                <a:lnTo>
                  <a:pt x="5363" y="4292"/>
                </a:lnTo>
                <a:lnTo>
                  <a:pt x="5359" y="4298"/>
                </a:lnTo>
                <a:lnTo>
                  <a:pt x="3997" y="5540"/>
                </a:lnTo>
                <a:lnTo>
                  <a:pt x="3985" y="5558"/>
                </a:lnTo>
                <a:lnTo>
                  <a:pt x="3985" y="5558"/>
                </a:lnTo>
                <a:lnTo>
                  <a:pt x="3979" y="5568"/>
                </a:lnTo>
                <a:lnTo>
                  <a:pt x="3971" y="5578"/>
                </a:lnTo>
                <a:lnTo>
                  <a:pt x="3953" y="5594"/>
                </a:lnTo>
                <a:lnTo>
                  <a:pt x="3933" y="5606"/>
                </a:lnTo>
                <a:lnTo>
                  <a:pt x="3911" y="5614"/>
                </a:lnTo>
                <a:lnTo>
                  <a:pt x="3889" y="5616"/>
                </a:lnTo>
                <a:lnTo>
                  <a:pt x="3865" y="5616"/>
                </a:lnTo>
                <a:lnTo>
                  <a:pt x="3841" y="5610"/>
                </a:lnTo>
                <a:lnTo>
                  <a:pt x="3831" y="5604"/>
                </a:lnTo>
                <a:lnTo>
                  <a:pt x="3819" y="5598"/>
                </a:lnTo>
                <a:lnTo>
                  <a:pt x="1658" y="4404"/>
                </a:lnTo>
                <a:close/>
                <a:moveTo>
                  <a:pt x="5231" y="3404"/>
                </a:moveTo>
                <a:lnTo>
                  <a:pt x="5215" y="3814"/>
                </a:lnTo>
                <a:lnTo>
                  <a:pt x="3851" y="3116"/>
                </a:lnTo>
                <a:lnTo>
                  <a:pt x="3851" y="3116"/>
                </a:lnTo>
                <a:lnTo>
                  <a:pt x="3813" y="3092"/>
                </a:lnTo>
                <a:lnTo>
                  <a:pt x="3775" y="3070"/>
                </a:lnTo>
                <a:lnTo>
                  <a:pt x="3737" y="3050"/>
                </a:lnTo>
                <a:lnTo>
                  <a:pt x="3699" y="3032"/>
                </a:lnTo>
                <a:lnTo>
                  <a:pt x="3661" y="3014"/>
                </a:lnTo>
                <a:lnTo>
                  <a:pt x="3623" y="2998"/>
                </a:lnTo>
                <a:lnTo>
                  <a:pt x="3585" y="2986"/>
                </a:lnTo>
                <a:lnTo>
                  <a:pt x="3547" y="2974"/>
                </a:lnTo>
                <a:lnTo>
                  <a:pt x="3511" y="2962"/>
                </a:lnTo>
                <a:lnTo>
                  <a:pt x="3473" y="2954"/>
                </a:lnTo>
                <a:lnTo>
                  <a:pt x="3435" y="2946"/>
                </a:lnTo>
                <a:lnTo>
                  <a:pt x="3399" y="2942"/>
                </a:lnTo>
                <a:lnTo>
                  <a:pt x="3361" y="2938"/>
                </a:lnTo>
                <a:lnTo>
                  <a:pt x="3324" y="2936"/>
                </a:lnTo>
                <a:lnTo>
                  <a:pt x="3286" y="2936"/>
                </a:lnTo>
                <a:lnTo>
                  <a:pt x="3250" y="2936"/>
                </a:lnTo>
                <a:lnTo>
                  <a:pt x="3214" y="2940"/>
                </a:lnTo>
                <a:lnTo>
                  <a:pt x="3178" y="2944"/>
                </a:lnTo>
                <a:lnTo>
                  <a:pt x="3142" y="2950"/>
                </a:lnTo>
                <a:lnTo>
                  <a:pt x="3106" y="2958"/>
                </a:lnTo>
                <a:lnTo>
                  <a:pt x="3070" y="2968"/>
                </a:lnTo>
                <a:lnTo>
                  <a:pt x="3034" y="2980"/>
                </a:lnTo>
                <a:lnTo>
                  <a:pt x="2998" y="2992"/>
                </a:lnTo>
                <a:lnTo>
                  <a:pt x="2964" y="3006"/>
                </a:lnTo>
                <a:lnTo>
                  <a:pt x="2930" y="3024"/>
                </a:lnTo>
                <a:lnTo>
                  <a:pt x="2894" y="3042"/>
                </a:lnTo>
                <a:lnTo>
                  <a:pt x="2860" y="3060"/>
                </a:lnTo>
                <a:lnTo>
                  <a:pt x="2826" y="3082"/>
                </a:lnTo>
                <a:lnTo>
                  <a:pt x="2792" y="3106"/>
                </a:lnTo>
                <a:lnTo>
                  <a:pt x="2758" y="3130"/>
                </a:lnTo>
                <a:lnTo>
                  <a:pt x="2726" y="3156"/>
                </a:lnTo>
                <a:lnTo>
                  <a:pt x="2692" y="3184"/>
                </a:lnTo>
                <a:lnTo>
                  <a:pt x="2192" y="3626"/>
                </a:lnTo>
                <a:lnTo>
                  <a:pt x="2192" y="3626"/>
                </a:lnTo>
                <a:lnTo>
                  <a:pt x="2176" y="3638"/>
                </a:lnTo>
                <a:lnTo>
                  <a:pt x="2158" y="3650"/>
                </a:lnTo>
                <a:lnTo>
                  <a:pt x="2140" y="3660"/>
                </a:lnTo>
                <a:lnTo>
                  <a:pt x="2122" y="3666"/>
                </a:lnTo>
                <a:lnTo>
                  <a:pt x="2102" y="3672"/>
                </a:lnTo>
                <a:lnTo>
                  <a:pt x="2082" y="3676"/>
                </a:lnTo>
                <a:lnTo>
                  <a:pt x="2062" y="3676"/>
                </a:lnTo>
                <a:lnTo>
                  <a:pt x="2042" y="3676"/>
                </a:lnTo>
                <a:lnTo>
                  <a:pt x="2024" y="3674"/>
                </a:lnTo>
                <a:lnTo>
                  <a:pt x="2004" y="3670"/>
                </a:lnTo>
                <a:lnTo>
                  <a:pt x="1984" y="3664"/>
                </a:lnTo>
                <a:lnTo>
                  <a:pt x="1966" y="3656"/>
                </a:lnTo>
                <a:lnTo>
                  <a:pt x="1948" y="3646"/>
                </a:lnTo>
                <a:lnTo>
                  <a:pt x="1932" y="3634"/>
                </a:lnTo>
                <a:lnTo>
                  <a:pt x="1916" y="3622"/>
                </a:lnTo>
                <a:lnTo>
                  <a:pt x="1902" y="3606"/>
                </a:lnTo>
                <a:lnTo>
                  <a:pt x="1902" y="3606"/>
                </a:lnTo>
                <a:lnTo>
                  <a:pt x="1888" y="3590"/>
                </a:lnTo>
                <a:lnTo>
                  <a:pt x="1878" y="3574"/>
                </a:lnTo>
                <a:lnTo>
                  <a:pt x="1868" y="3556"/>
                </a:lnTo>
                <a:lnTo>
                  <a:pt x="1862" y="3538"/>
                </a:lnTo>
                <a:lnTo>
                  <a:pt x="1856" y="3518"/>
                </a:lnTo>
                <a:lnTo>
                  <a:pt x="1852" y="3498"/>
                </a:lnTo>
                <a:lnTo>
                  <a:pt x="1850" y="3478"/>
                </a:lnTo>
                <a:lnTo>
                  <a:pt x="1852" y="3458"/>
                </a:lnTo>
                <a:lnTo>
                  <a:pt x="1852" y="3458"/>
                </a:lnTo>
                <a:lnTo>
                  <a:pt x="1854" y="3438"/>
                </a:lnTo>
                <a:lnTo>
                  <a:pt x="1858" y="3418"/>
                </a:lnTo>
                <a:lnTo>
                  <a:pt x="1864" y="3398"/>
                </a:lnTo>
                <a:lnTo>
                  <a:pt x="1872" y="3380"/>
                </a:lnTo>
                <a:lnTo>
                  <a:pt x="1882" y="3362"/>
                </a:lnTo>
                <a:lnTo>
                  <a:pt x="1894" y="3346"/>
                </a:lnTo>
                <a:lnTo>
                  <a:pt x="1906" y="3330"/>
                </a:lnTo>
                <a:lnTo>
                  <a:pt x="1920" y="3316"/>
                </a:lnTo>
                <a:lnTo>
                  <a:pt x="3359" y="2060"/>
                </a:lnTo>
                <a:lnTo>
                  <a:pt x="3359" y="2060"/>
                </a:lnTo>
                <a:lnTo>
                  <a:pt x="3383" y="2038"/>
                </a:lnTo>
                <a:lnTo>
                  <a:pt x="3409" y="2020"/>
                </a:lnTo>
                <a:lnTo>
                  <a:pt x="3437" y="2004"/>
                </a:lnTo>
                <a:lnTo>
                  <a:pt x="3465" y="1990"/>
                </a:lnTo>
                <a:lnTo>
                  <a:pt x="3493" y="1978"/>
                </a:lnTo>
                <a:lnTo>
                  <a:pt x="3523" y="1970"/>
                </a:lnTo>
                <a:lnTo>
                  <a:pt x="3553" y="1962"/>
                </a:lnTo>
                <a:lnTo>
                  <a:pt x="3583" y="1956"/>
                </a:lnTo>
                <a:lnTo>
                  <a:pt x="3615" y="1954"/>
                </a:lnTo>
                <a:lnTo>
                  <a:pt x="3645" y="1952"/>
                </a:lnTo>
                <a:lnTo>
                  <a:pt x="3677" y="1954"/>
                </a:lnTo>
                <a:lnTo>
                  <a:pt x="3707" y="1956"/>
                </a:lnTo>
                <a:lnTo>
                  <a:pt x="3739" y="1962"/>
                </a:lnTo>
                <a:lnTo>
                  <a:pt x="3769" y="1970"/>
                </a:lnTo>
                <a:lnTo>
                  <a:pt x="3799" y="1982"/>
                </a:lnTo>
                <a:lnTo>
                  <a:pt x="3829" y="1994"/>
                </a:lnTo>
                <a:lnTo>
                  <a:pt x="4333" y="2234"/>
                </a:lnTo>
                <a:lnTo>
                  <a:pt x="6423" y="464"/>
                </a:lnTo>
                <a:lnTo>
                  <a:pt x="6423" y="2402"/>
                </a:lnTo>
                <a:lnTo>
                  <a:pt x="5231" y="3404"/>
                </a:lnTo>
                <a:close/>
                <a:moveTo>
                  <a:pt x="6191" y="286"/>
                </a:moveTo>
                <a:lnTo>
                  <a:pt x="4289" y="1896"/>
                </a:lnTo>
                <a:lnTo>
                  <a:pt x="3951" y="1736"/>
                </a:lnTo>
                <a:lnTo>
                  <a:pt x="3951" y="1736"/>
                </a:lnTo>
                <a:lnTo>
                  <a:pt x="3921" y="1722"/>
                </a:lnTo>
                <a:lnTo>
                  <a:pt x="3891" y="1710"/>
                </a:lnTo>
                <a:lnTo>
                  <a:pt x="3861" y="1700"/>
                </a:lnTo>
                <a:lnTo>
                  <a:pt x="3831" y="1690"/>
                </a:lnTo>
                <a:lnTo>
                  <a:pt x="3799" y="1684"/>
                </a:lnTo>
                <a:lnTo>
                  <a:pt x="3769" y="1678"/>
                </a:lnTo>
                <a:lnTo>
                  <a:pt x="3737" y="1672"/>
                </a:lnTo>
                <a:lnTo>
                  <a:pt x="3705" y="1670"/>
                </a:lnTo>
                <a:lnTo>
                  <a:pt x="3675" y="1668"/>
                </a:lnTo>
                <a:lnTo>
                  <a:pt x="3643" y="1666"/>
                </a:lnTo>
                <a:lnTo>
                  <a:pt x="3611" y="1668"/>
                </a:lnTo>
                <a:lnTo>
                  <a:pt x="3579" y="1670"/>
                </a:lnTo>
                <a:lnTo>
                  <a:pt x="3549" y="1674"/>
                </a:lnTo>
                <a:lnTo>
                  <a:pt x="3517" y="1678"/>
                </a:lnTo>
                <a:lnTo>
                  <a:pt x="3487" y="1684"/>
                </a:lnTo>
                <a:lnTo>
                  <a:pt x="3457" y="1692"/>
                </a:lnTo>
                <a:lnTo>
                  <a:pt x="3248" y="1570"/>
                </a:lnTo>
                <a:lnTo>
                  <a:pt x="3248" y="1570"/>
                </a:lnTo>
                <a:lnTo>
                  <a:pt x="3196" y="1542"/>
                </a:lnTo>
                <a:lnTo>
                  <a:pt x="3144" y="1518"/>
                </a:lnTo>
                <a:lnTo>
                  <a:pt x="3092" y="1498"/>
                </a:lnTo>
                <a:lnTo>
                  <a:pt x="3036" y="1480"/>
                </a:lnTo>
                <a:lnTo>
                  <a:pt x="2982" y="1466"/>
                </a:lnTo>
                <a:lnTo>
                  <a:pt x="2926" y="1454"/>
                </a:lnTo>
                <a:lnTo>
                  <a:pt x="2870" y="1448"/>
                </a:lnTo>
                <a:lnTo>
                  <a:pt x="2814" y="1444"/>
                </a:lnTo>
                <a:lnTo>
                  <a:pt x="2758" y="1442"/>
                </a:lnTo>
                <a:lnTo>
                  <a:pt x="2700" y="1446"/>
                </a:lnTo>
                <a:lnTo>
                  <a:pt x="2644" y="1452"/>
                </a:lnTo>
                <a:lnTo>
                  <a:pt x="2588" y="1462"/>
                </a:lnTo>
                <a:lnTo>
                  <a:pt x="2532" y="1476"/>
                </a:lnTo>
                <a:lnTo>
                  <a:pt x="2478" y="1492"/>
                </a:lnTo>
                <a:lnTo>
                  <a:pt x="2424" y="1512"/>
                </a:lnTo>
                <a:lnTo>
                  <a:pt x="2370" y="1536"/>
                </a:lnTo>
                <a:lnTo>
                  <a:pt x="1884" y="1770"/>
                </a:lnTo>
                <a:lnTo>
                  <a:pt x="286" y="814"/>
                </a:lnTo>
                <a:lnTo>
                  <a:pt x="286" y="286"/>
                </a:lnTo>
                <a:lnTo>
                  <a:pt x="6191" y="286"/>
                </a:lnTo>
                <a:close/>
                <a:moveTo>
                  <a:pt x="286" y="6422"/>
                </a:moveTo>
                <a:lnTo>
                  <a:pt x="286" y="3084"/>
                </a:lnTo>
                <a:lnTo>
                  <a:pt x="980" y="3492"/>
                </a:lnTo>
                <a:lnTo>
                  <a:pt x="1080" y="4038"/>
                </a:lnTo>
                <a:lnTo>
                  <a:pt x="1080" y="4038"/>
                </a:lnTo>
                <a:lnTo>
                  <a:pt x="1088" y="4076"/>
                </a:lnTo>
                <a:lnTo>
                  <a:pt x="1096" y="4112"/>
                </a:lnTo>
                <a:lnTo>
                  <a:pt x="1108" y="4148"/>
                </a:lnTo>
                <a:lnTo>
                  <a:pt x="1120" y="4184"/>
                </a:lnTo>
                <a:lnTo>
                  <a:pt x="1134" y="4218"/>
                </a:lnTo>
                <a:lnTo>
                  <a:pt x="1148" y="4252"/>
                </a:lnTo>
                <a:lnTo>
                  <a:pt x="1164" y="4286"/>
                </a:lnTo>
                <a:lnTo>
                  <a:pt x="1182" y="4318"/>
                </a:lnTo>
                <a:lnTo>
                  <a:pt x="1202" y="4350"/>
                </a:lnTo>
                <a:lnTo>
                  <a:pt x="1222" y="4382"/>
                </a:lnTo>
                <a:lnTo>
                  <a:pt x="1244" y="4412"/>
                </a:lnTo>
                <a:lnTo>
                  <a:pt x="1266" y="4440"/>
                </a:lnTo>
                <a:lnTo>
                  <a:pt x="1290" y="4468"/>
                </a:lnTo>
                <a:lnTo>
                  <a:pt x="1316" y="4496"/>
                </a:lnTo>
                <a:lnTo>
                  <a:pt x="1342" y="4522"/>
                </a:lnTo>
                <a:lnTo>
                  <a:pt x="1370" y="4548"/>
                </a:lnTo>
                <a:lnTo>
                  <a:pt x="1370" y="4548"/>
                </a:lnTo>
                <a:lnTo>
                  <a:pt x="1342" y="4578"/>
                </a:lnTo>
                <a:lnTo>
                  <a:pt x="1318" y="4610"/>
                </a:lnTo>
                <a:lnTo>
                  <a:pt x="1296" y="4644"/>
                </a:lnTo>
                <a:lnTo>
                  <a:pt x="1278" y="4680"/>
                </a:lnTo>
                <a:lnTo>
                  <a:pt x="1264" y="4716"/>
                </a:lnTo>
                <a:lnTo>
                  <a:pt x="1254" y="4754"/>
                </a:lnTo>
                <a:lnTo>
                  <a:pt x="1246" y="4794"/>
                </a:lnTo>
                <a:lnTo>
                  <a:pt x="1242" y="4832"/>
                </a:lnTo>
                <a:lnTo>
                  <a:pt x="1244" y="4872"/>
                </a:lnTo>
                <a:lnTo>
                  <a:pt x="1246" y="4912"/>
                </a:lnTo>
                <a:lnTo>
                  <a:pt x="1254" y="4950"/>
                </a:lnTo>
                <a:lnTo>
                  <a:pt x="1266" y="4988"/>
                </a:lnTo>
                <a:lnTo>
                  <a:pt x="1280" y="5026"/>
                </a:lnTo>
                <a:lnTo>
                  <a:pt x="1300" y="5062"/>
                </a:lnTo>
                <a:lnTo>
                  <a:pt x="1322" y="5098"/>
                </a:lnTo>
                <a:lnTo>
                  <a:pt x="1348" y="5132"/>
                </a:lnTo>
                <a:lnTo>
                  <a:pt x="2118" y="5944"/>
                </a:lnTo>
                <a:lnTo>
                  <a:pt x="2118" y="5944"/>
                </a:lnTo>
                <a:lnTo>
                  <a:pt x="2146" y="5976"/>
                </a:lnTo>
                <a:lnTo>
                  <a:pt x="2178" y="6002"/>
                </a:lnTo>
                <a:lnTo>
                  <a:pt x="2212" y="6026"/>
                </a:lnTo>
                <a:lnTo>
                  <a:pt x="2248" y="6046"/>
                </a:lnTo>
                <a:lnTo>
                  <a:pt x="2286" y="6064"/>
                </a:lnTo>
                <a:lnTo>
                  <a:pt x="2326" y="6076"/>
                </a:lnTo>
                <a:lnTo>
                  <a:pt x="2368" y="6086"/>
                </a:lnTo>
                <a:lnTo>
                  <a:pt x="2410" y="6090"/>
                </a:lnTo>
                <a:lnTo>
                  <a:pt x="2410" y="6090"/>
                </a:lnTo>
                <a:lnTo>
                  <a:pt x="2440" y="6092"/>
                </a:lnTo>
                <a:lnTo>
                  <a:pt x="2440" y="6092"/>
                </a:lnTo>
                <a:lnTo>
                  <a:pt x="2478" y="6090"/>
                </a:lnTo>
                <a:lnTo>
                  <a:pt x="2516" y="6086"/>
                </a:lnTo>
                <a:lnTo>
                  <a:pt x="2552" y="6076"/>
                </a:lnTo>
                <a:lnTo>
                  <a:pt x="2588" y="6066"/>
                </a:lnTo>
                <a:lnTo>
                  <a:pt x="2622" y="6050"/>
                </a:lnTo>
                <a:lnTo>
                  <a:pt x="2656" y="6032"/>
                </a:lnTo>
                <a:lnTo>
                  <a:pt x="2688" y="6012"/>
                </a:lnTo>
                <a:lnTo>
                  <a:pt x="2718" y="5988"/>
                </a:lnTo>
                <a:lnTo>
                  <a:pt x="3194" y="5580"/>
                </a:lnTo>
                <a:lnTo>
                  <a:pt x="3677" y="5848"/>
                </a:lnTo>
                <a:lnTo>
                  <a:pt x="3677" y="5848"/>
                </a:lnTo>
                <a:lnTo>
                  <a:pt x="3701" y="5860"/>
                </a:lnTo>
                <a:lnTo>
                  <a:pt x="3727" y="5872"/>
                </a:lnTo>
                <a:lnTo>
                  <a:pt x="3751" y="5882"/>
                </a:lnTo>
                <a:lnTo>
                  <a:pt x="3777" y="5890"/>
                </a:lnTo>
                <a:lnTo>
                  <a:pt x="3803" y="5896"/>
                </a:lnTo>
                <a:lnTo>
                  <a:pt x="3829" y="5900"/>
                </a:lnTo>
                <a:lnTo>
                  <a:pt x="3855" y="5902"/>
                </a:lnTo>
                <a:lnTo>
                  <a:pt x="3881" y="5904"/>
                </a:lnTo>
                <a:lnTo>
                  <a:pt x="3881" y="5904"/>
                </a:lnTo>
                <a:lnTo>
                  <a:pt x="3907" y="5902"/>
                </a:lnTo>
                <a:lnTo>
                  <a:pt x="3931" y="5900"/>
                </a:lnTo>
                <a:lnTo>
                  <a:pt x="3955" y="5896"/>
                </a:lnTo>
                <a:lnTo>
                  <a:pt x="3979" y="5892"/>
                </a:lnTo>
                <a:lnTo>
                  <a:pt x="4003" y="5886"/>
                </a:lnTo>
                <a:lnTo>
                  <a:pt x="4025" y="5878"/>
                </a:lnTo>
                <a:lnTo>
                  <a:pt x="4049" y="5868"/>
                </a:lnTo>
                <a:lnTo>
                  <a:pt x="4071" y="5858"/>
                </a:lnTo>
                <a:lnTo>
                  <a:pt x="4093" y="5846"/>
                </a:lnTo>
                <a:lnTo>
                  <a:pt x="4113" y="5832"/>
                </a:lnTo>
                <a:lnTo>
                  <a:pt x="4133" y="5816"/>
                </a:lnTo>
                <a:lnTo>
                  <a:pt x="4153" y="5800"/>
                </a:lnTo>
                <a:lnTo>
                  <a:pt x="4171" y="5784"/>
                </a:lnTo>
                <a:lnTo>
                  <a:pt x="4187" y="5766"/>
                </a:lnTo>
                <a:lnTo>
                  <a:pt x="4203" y="5746"/>
                </a:lnTo>
                <a:lnTo>
                  <a:pt x="4219" y="5724"/>
                </a:lnTo>
                <a:lnTo>
                  <a:pt x="5555" y="4506"/>
                </a:lnTo>
                <a:lnTo>
                  <a:pt x="5555" y="4506"/>
                </a:lnTo>
                <a:lnTo>
                  <a:pt x="5583" y="4476"/>
                </a:lnTo>
                <a:lnTo>
                  <a:pt x="5607" y="4442"/>
                </a:lnTo>
                <a:lnTo>
                  <a:pt x="5625" y="4408"/>
                </a:lnTo>
                <a:lnTo>
                  <a:pt x="5641" y="4370"/>
                </a:lnTo>
                <a:lnTo>
                  <a:pt x="5651" y="4332"/>
                </a:lnTo>
                <a:lnTo>
                  <a:pt x="5659" y="4292"/>
                </a:lnTo>
                <a:lnTo>
                  <a:pt x="5659" y="4252"/>
                </a:lnTo>
                <a:lnTo>
                  <a:pt x="5657" y="4210"/>
                </a:lnTo>
                <a:lnTo>
                  <a:pt x="5657" y="4210"/>
                </a:lnTo>
                <a:lnTo>
                  <a:pt x="5651" y="4172"/>
                </a:lnTo>
                <a:lnTo>
                  <a:pt x="5639" y="4136"/>
                </a:lnTo>
                <a:lnTo>
                  <a:pt x="5625" y="4102"/>
                </a:lnTo>
                <a:lnTo>
                  <a:pt x="5605" y="4068"/>
                </a:lnTo>
                <a:lnTo>
                  <a:pt x="5583" y="4038"/>
                </a:lnTo>
                <a:lnTo>
                  <a:pt x="5559" y="4010"/>
                </a:lnTo>
                <a:lnTo>
                  <a:pt x="5529" y="3984"/>
                </a:lnTo>
                <a:lnTo>
                  <a:pt x="5497" y="3960"/>
                </a:lnTo>
                <a:lnTo>
                  <a:pt x="5513" y="3540"/>
                </a:lnTo>
                <a:lnTo>
                  <a:pt x="6423" y="2774"/>
                </a:lnTo>
                <a:lnTo>
                  <a:pt x="6423" y="6422"/>
                </a:lnTo>
                <a:lnTo>
                  <a:pt x="286" y="6422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8625" tIns="29300" rIns="58625" bIns="293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6" name="Google Shape;556;p57"/>
          <p:cNvSpPr txBox="1"/>
          <p:nvPr/>
        </p:nvSpPr>
        <p:spPr>
          <a:xfrm>
            <a:off x="6682056" y="2662769"/>
            <a:ext cx="2267492" cy="438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 i="0" u="none" strike="noStrike" cap="none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Transparent, Secure &amp; Trustworthy</a:t>
            </a:r>
            <a:endParaRPr sz="1200" b="1" i="0" u="none" strike="noStrike" cap="none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57" name="Google Shape;557;p57"/>
          <p:cNvSpPr txBox="1"/>
          <p:nvPr/>
        </p:nvSpPr>
        <p:spPr>
          <a:xfrm>
            <a:off x="6854600" y="3200938"/>
            <a:ext cx="1922402" cy="13618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>
              <a:buSzPts val="1100"/>
            </a:pP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Transparent system without any red tapes. Secure and trustworthy. It will </a:t>
            </a:r>
            <a:r>
              <a:rPr lang="en" sz="1200" dirty="0">
                <a:latin typeface="Georgia"/>
                <a:ea typeface="Georgia"/>
                <a:cs typeface="Georgia"/>
                <a:sym typeface="Georgia"/>
              </a:rPr>
              <a:t>enhance </a:t>
            </a:r>
            <a:r>
              <a:rPr lang="en" sz="1200" b="0" i="0" u="none" strike="noStrike" cap="none" dirty="0">
                <a:solidFill>
                  <a:srgbClr val="000000"/>
                </a:solidFill>
                <a:latin typeface="Georgia"/>
                <a:ea typeface="Georgia"/>
                <a:cs typeface="Georgia"/>
                <a:sym typeface="Georgia"/>
              </a:rPr>
              <a:t>trust in citizens that the data is not being altered or misused.</a:t>
            </a:r>
            <a:endParaRPr sz="1200" b="0" i="0" u="none" strike="noStrike" cap="none" dirty="0">
              <a:solidFill>
                <a:srgbClr val="000000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58" name="Google Shape;558;p57"/>
          <p:cNvCxnSpPr/>
          <p:nvPr/>
        </p:nvCxnSpPr>
        <p:spPr>
          <a:xfrm>
            <a:off x="2425887" y="1743012"/>
            <a:ext cx="0" cy="2400300"/>
          </a:xfrm>
          <a:prstGeom prst="straightConnector1">
            <a:avLst/>
          </a:prstGeom>
          <a:noFill/>
          <a:ln w="9525" cap="flat" cmpd="sng">
            <a:solidFill>
              <a:srgbClr val="D0460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59" name="Google Shape;559;p57"/>
          <p:cNvCxnSpPr/>
          <p:nvPr/>
        </p:nvCxnSpPr>
        <p:spPr>
          <a:xfrm>
            <a:off x="4670067" y="1778390"/>
            <a:ext cx="0" cy="2400300"/>
          </a:xfrm>
          <a:prstGeom prst="straightConnector1">
            <a:avLst/>
          </a:prstGeom>
          <a:noFill/>
          <a:ln w="9525" cap="flat" cmpd="sng">
            <a:solidFill>
              <a:srgbClr val="D0460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0" name="Google Shape;560;p57"/>
          <p:cNvCxnSpPr>
            <a:cxnSpLocks/>
          </p:cNvCxnSpPr>
          <p:nvPr/>
        </p:nvCxnSpPr>
        <p:spPr>
          <a:xfrm>
            <a:off x="6772483" y="1790032"/>
            <a:ext cx="0" cy="2400300"/>
          </a:xfrm>
          <a:prstGeom prst="straightConnector1">
            <a:avLst/>
          </a:prstGeom>
          <a:noFill/>
          <a:ln w="9525" cap="flat" cmpd="sng">
            <a:solidFill>
              <a:srgbClr val="D046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Google Shape;565;p58"/>
          <p:cNvSpPr txBox="1">
            <a:spLocks noGrp="1"/>
          </p:cNvSpPr>
          <p:nvPr>
            <p:ph type="title"/>
          </p:nvPr>
        </p:nvSpPr>
        <p:spPr>
          <a:xfrm>
            <a:off x="332184" y="161744"/>
            <a:ext cx="8479631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Advantages of using blockchain based ledger </a:t>
            </a:r>
            <a:endParaRPr sz="2200" dirty="0"/>
          </a:p>
        </p:txBody>
      </p:sp>
      <p:sp>
        <p:nvSpPr>
          <p:cNvPr id="566" name="Google Shape;566;p58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594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568" name="Google Shape;568;p58"/>
          <p:cNvSpPr/>
          <p:nvPr/>
        </p:nvSpPr>
        <p:spPr>
          <a:xfrm>
            <a:off x="414203" y="2454151"/>
            <a:ext cx="3957206" cy="1810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" sz="12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Shorter timelines achievable by streamlining and automating business processes </a:t>
            </a: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endParaRPr lang="en" sz="12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" sz="12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cts as a common platform for data exchanges. </a:t>
            </a: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endParaRPr lang="en" sz="12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" sz="12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uthorities can track and manage regulatory proceedings. </a:t>
            </a: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endParaRPr lang="en" sz="12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Enables collation of useful authentic data pertaining to the business landscape and employment opportunities in a designated region. </a:t>
            </a: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endParaRPr lang="en-US" sz="1200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dirty="0">
                <a:solidFill>
                  <a:schemeClr val="dk1"/>
                </a:solidFill>
                <a:latin typeface="Georgia" panose="02040502050405020303" pitchFamily="18" charset="0"/>
                <a:ea typeface="Georgia"/>
                <a:cs typeface="Georgia"/>
                <a:sym typeface="Georgia"/>
              </a:rPr>
              <a:t>Accurate details of traders stored in a secure, auditable and immutable manner. </a:t>
            </a:r>
            <a:endParaRPr lang="en-US" sz="12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Georgia"/>
              <a:cs typeface="Georgia"/>
              <a:sym typeface="Georgia"/>
            </a:endParaRPr>
          </a:p>
        </p:txBody>
      </p:sp>
      <p:sp>
        <p:nvSpPr>
          <p:cNvPr id="570" name="Google Shape;570;p58"/>
          <p:cNvSpPr/>
          <p:nvPr/>
        </p:nvSpPr>
        <p:spPr>
          <a:xfrm>
            <a:off x="5130856" y="2286708"/>
            <a:ext cx="352136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" sz="12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S</a:t>
            </a:r>
            <a:r>
              <a:rPr lang="en"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imple and credible process ensuring ease of registration for the citizens facilitating ease of doing business.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</a:pP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127000" marR="0" lvl="0" indent="-127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"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Availability of documents in digital format ensuring records in perpetuity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</a:pPr>
            <a:r>
              <a:rPr lang="en"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 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 pitchFamily="34" charset="0"/>
              <a:buChar char="•"/>
            </a:pPr>
            <a:r>
              <a:rPr lang="en"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Provision of i</a:t>
            </a:r>
            <a:r>
              <a:rPr lang="en" sz="12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ntegrated  end-to-end  services through a comprehensive service delivery infrastructure. </a:t>
            </a:r>
            <a:br>
              <a:rPr lang="en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71" name="Google Shape;571;p58"/>
          <p:cNvSpPr txBox="1"/>
          <p:nvPr/>
        </p:nvSpPr>
        <p:spPr>
          <a:xfrm>
            <a:off x="1085896" y="1839747"/>
            <a:ext cx="1918552" cy="259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2E4A"/>
              </a:buClr>
              <a:buSzPts val="1200"/>
              <a:buFont typeface="Arial"/>
              <a:buNone/>
            </a:pPr>
            <a:r>
              <a:rPr lang="en" sz="1200" b="1" i="0" u="none" strike="noStrike" cap="none">
                <a:solidFill>
                  <a:srgbClr val="D32E4A"/>
                </a:solidFill>
                <a:latin typeface="Georgia"/>
                <a:ea typeface="Georgia"/>
                <a:cs typeface="Georgia"/>
                <a:sym typeface="Georgia"/>
              </a:rPr>
              <a:t>Governance authorities  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58"/>
          <p:cNvSpPr/>
          <p:nvPr/>
        </p:nvSpPr>
        <p:spPr>
          <a:xfrm>
            <a:off x="6270389" y="946875"/>
            <a:ext cx="630940" cy="699435"/>
          </a:xfrm>
          <a:custGeom>
            <a:avLst/>
            <a:gdLst/>
            <a:ahLst/>
            <a:cxnLst/>
            <a:rect l="l" t="t" r="r" b="b"/>
            <a:pathLst>
              <a:path w="251" h="308" extrusionOk="0">
                <a:moveTo>
                  <a:pt x="1" y="132"/>
                </a:moveTo>
                <a:cubicBezTo>
                  <a:pt x="1" y="119"/>
                  <a:pt x="1" y="105"/>
                  <a:pt x="7" y="95"/>
                </a:cubicBezTo>
                <a:cubicBezTo>
                  <a:pt x="12" y="85"/>
                  <a:pt x="21" y="76"/>
                  <a:pt x="33" y="76"/>
                </a:cubicBezTo>
                <a:cubicBezTo>
                  <a:pt x="37" y="76"/>
                  <a:pt x="37" y="76"/>
                  <a:pt x="37" y="76"/>
                </a:cubicBezTo>
                <a:cubicBezTo>
                  <a:pt x="44" y="84"/>
                  <a:pt x="56" y="86"/>
                  <a:pt x="65" y="81"/>
                </a:cubicBezTo>
                <a:cubicBezTo>
                  <a:pt x="65" y="83"/>
                  <a:pt x="64" y="84"/>
                  <a:pt x="63" y="86"/>
                </a:cubicBezTo>
                <a:cubicBezTo>
                  <a:pt x="56" y="100"/>
                  <a:pt x="55" y="117"/>
                  <a:pt x="55" y="132"/>
                </a:cubicBezTo>
                <a:cubicBezTo>
                  <a:pt x="55" y="149"/>
                  <a:pt x="56" y="166"/>
                  <a:pt x="55" y="183"/>
                </a:cubicBezTo>
                <a:cubicBezTo>
                  <a:pt x="54" y="195"/>
                  <a:pt x="67" y="202"/>
                  <a:pt x="79" y="202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73" y="283"/>
                  <a:pt x="61" y="283"/>
                  <a:pt x="55" y="275"/>
                </a:cubicBezTo>
                <a:cubicBezTo>
                  <a:pt x="45" y="286"/>
                  <a:pt x="23" y="282"/>
                  <a:pt x="23" y="266"/>
                </a:cubicBezTo>
                <a:cubicBezTo>
                  <a:pt x="22" y="182"/>
                  <a:pt x="22" y="182"/>
                  <a:pt x="22" y="182"/>
                </a:cubicBezTo>
                <a:cubicBezTo>
                  <a:pt x="17" y="187"/>
                  <a:pt x="0" y="185"/>
                  <a:pt x="1" y="177"/>
                </a:cubicBezTo>
                <a:cubicBezTo>
                  <a:pt x="1" y="158"/>
                  <a:pt x="1" y="150"/>
                  <a:pt x="1" y="132"/>
                </a:cubicBezTo>
                <a:close/>
                <a:moveTo>
                  <a:pt x="79" y="39"/>
                </a:moveTo>
                <a:cubicBezTo>
                  <a:pt x="78" y="26"/>
                  <a:pt x="69" y="16"/>
                  <a:pt x="55" y="16"/>
                </a:cubicBezTo>
                <a:cubicBezTo>
                  <a:pt x="39" y="16"/>
                  <a:pt x="31" y="26"/>
                  <a:pt x="30" y="39"/>
                </a:cubicBezTo>
                <a:cubicBezTo>
                  <a:pt x="30" y="90"/>
                  <a:pt x="79" y="89"/>
                  <a:pt x="79" y="39"/>
                </a:cubicBezTo>
                <a:close/>
                <a:moveTo>
                  <a:pt x="185" y="81"/>
                </a:moveTo>
                <a:cubicBezTo>
                  <a:pt x="195" y="86"/>
                  <a:pt x="206" y="84"/>
                  <a:pt x="214" y="76"/>
                </a:cubicBezTo>
                <a:cubicBezTo>
                  <a:pt x="218" y="76"/>
                  <a:pt x="218" y="76"/>
                  <a:pt x="218" y="76"/>
                </a:cubicBezTo>
                <a:cubicBezTo>
                  <a:pt x="229" y="76"/>
                  <a:pt x="239" y="85"/>
                  <a:pt x="244" y="95"/>
                </a:cubicBezTo>
                <a:cubicBezTo>
                  <a:pt x="249" y="105"/>
                  <a:pt x="250" y="119"/>
                  <a:pt x="250" y="132"/>
                </a:cubicBezTo>
                <a:cubicBezTo>
                  <a:pt x="250" y="150"/>
                  <a:pt x="250" y="158"/>
                  <a:pt x="250" y="177"/>
                </a:cubicBezTo>
                <a:cubicBezTo>
                  <a:pt x="251" y="185"/>
                  <a:pt x="233" y="187"/>
                  <a:pt x="229" y="182"/>
                </a:cubicBezTo>
                <a:cubicBezTo>
                  <a:pt x="227" y="266"/>
                  <a:pt x="227" y="266"/>
                  <a:pt x="227" y="266"/>
                </a:cubicBezTo>
                <a:cubicBezTo>
                  <a:pt x="227" y="282"/>
                  <a:pt x="205" y="286"/>
                  <a:pt x="196" y="275"/>
                </a:cubicBezTo>
                <a:cubicBezTo>
                  <a:pt x="190" y="283"/>
                  <a:pt x="177" y="283"/>
                  <a:pt x="170" y="278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83" y="202"/>
                  <a:pt x="196" y="195"/>
                  <a:pt x="196" y="183"/>
                </a:cubicBezTo>
                <a:cubicBezTo>
                  <a:pt x="195" y="166"/>
                  <a:pt x="196" y="149"/>
                  <a:pt x="196" y="132"/>
                </a:cubicBezTo>
                <a:cubicBezTo>
                  <a:pt x="196" y="117"/>
                  <a:pt x="195" y="100"/>
                  <a:pt x="188" y="86"/>
                </a:cubicBezTo>
                <a:cubicBezTo>
                  <a:pt x="187" y="84"/>
                  <a:pt x="186" y="83"/>
                  <a:pt x="185" y="81"/>
                </a:cubicBezTo>
                <a:close/>
                <a:moveTo>
                  <a:pt x="220" y="39"/>
                </a:moveTo>
                <a:cubicBezTo>
                  <a:pt x="220" y="26"/>
                  <a:pt x="210" y="16"/>
                  <a:pt x="196" y="16"/>
                </a:cubicBezTo>
                <a:cubicBezTo>
                  <a:pt x="181" y="16"/>
                  <a:pt x="172" y="26"/>
                  <a:pt x="172" y="39"/>
                </a:cubicBezTo>
                <a:cubicBezTo>
                  <a:pt x="172" y="90"/>
                  <a:pt x="220" y="89"/>
                  <a:pt x="220" y="39"/>
                </a:cubicBezTo>
                <a:close/>
                <a:moveTo>
                  <a:pt x="64" y="132"/>
                </a:moveTo>
                <a:cubicBezTo>
                  <a:pt x="64" y="118"/>
                  <a:pt x="65" y="102"/>
                  <a:pt x="71" y="90"/>
                </a:cubicBezTo>
                <a:cubicBezTo>
                  <a:pt x="77" y="79"/>
                  <a:pt x="88" y="69"/>
                  <a:pt x="100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17" y="80"/>
                  <a:pt x="134" y="80"/>
                  <a:pt x="146" y="69"/>
                </a:cubicBezTo>
                <a:cubicBezTo>
                  <a:pt x="150" y="69"/>
                  <a:pt x="150" y="69"/>
                  <a:pt x="150" y="69"/>
                </a:cubicBezTo>
                <a:cubicBezTo>
                  <a:pt x="163" y="69"/>
                  <a:pt x="174" y="79"/>
                  <a:pt x="180" y="90"/>
                </a:cubicBezTo>
                <a:cubicBezTo>
                  <a:pt x="186" y="102"/>
                  <a:pt x="187" y="118"/>
                  <a:pt x="187" y="132"/>
                </a:cubicBezTo>
                <a:cubicBezTo>
                  <a:pt x="187" y="153"/>
                  <a:pt x="187" y="162"/>
                  <a:pt x="187" y="183"/>
                </a:cubicBezTo>
                <a:cubicBezTo>
                  <a:pt x="187" y="193"/>
                  <a:pt x="168" y="196"/>
                  <a:pt x="163" y="189"/>
                </a:cubicBezTo>
                <a:cubicBezTo>
                  <a:pt x="161" y="285"/>
                  <a:pt x="161" y="285"/>
                  <a:pt x="161" y="285"/>
                </a:cubicBezTo>
                <a:cubicBezTo>
                  <a:pt x="161" y="304"/>
                  <a:pt x="136" y="308"/>
                  <a:pt x="125" y="295"/>
                </a:cubicBezTo>
                <a:cubicBezTo>
                  <a:pt x="115" y="308"/>
                  <a:pt x="89" y="304"/>
                  <a:pt x="89" y="285"/>
                </a:cubicBezTo>
                <a:cubicBezTo>
                  <a:pt x="88" y="189"/>
                  <a:pt x="88" y="189"/>
                  <a:pt x="88" y="189"/>
                </a:cubicBezTo>
                <a:cubicBezTo>
                  <a:pt x="83" y="196"/>
                  <a:pt x="63" y="193"/>
                  <a:pt x="64" y="183"/>
                </a:cubicBezTo>
                <a:cubicBezTo>
                  <a:pt x="64" y="162"/>
                  <a:pt x="64" y="153"/>
                  <a:pt x="64" y="132"/>
                </a:cubicBezTo>
                <a:close/>
                <a:moveTo>
                  <a:pt x="153" y="27"/>
                </a:moveTo>
                <a:cubicBezTo>
                  <a:pt x="153" y="12"/>
                  <a:pt x="142" y="0"/>
                  <a:pt x="125" y="0"/>
                </a:cubicBezTo>
                <a:cubicBezTo>
                  <a:pt x="108" y="0"/>
                  <a:pt x="98" y="12"/>
                  <a:pt x="98" y="27"/>
                </a:cubicBezTo>
                <a:cubicBezTo>
                  <a:pt x="98" y="84"/>
                  <a:pt x="153" y="83"/>
                  <a:pt x="153" y="27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4" name="Google Shape;574;p58"/>
          <p:cNvSpPr txBox="1"/>
          <p:nvPr/>
        </p:nvSpPr>
        <p:spPr>
          <a:xfrm>
            <a:off x="6253522" y="1783441"/>
            <a:ext cx="773832" cy="18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rial"/>
              <a:buNone/>
            </a:pPr>
            <a:r>
              <a:rPr lang="en" sz="1200" b="1" i="0" u="none" strike="noStrike" cap="none">
                <a:solidFill>
                  <a:schemeClr val="accent3"/>
                </a:solidFill>
                <a:latin typeface="Georgia"/>
                <a:ea typeface="Georgia"/>
                <a:cs typeface="Georgia"/>
                <a:sym typeface="Georgia"/>
              </a:rPr>
              <a:t>Citizens 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5" name="Google Shape;575;p58"/>
          <p:cNvSpPr/>
          <p:nvPr/>
        </p:nvSpPr>
        <p:spPr>
          <a:xfrm>
            <a:off x="1697539" y="997571"/>
            <a:ext cx="695267" cy="648000"/>
          </a:xfrm>
          <a:custGeom>
            <a:avLst/>
            <a:gdLst/>
            <a:ahLst/>
            <a:cxnLst/>
            <a:rect l="l" t="t" r="r" b="b"/>
            <a:pathLst>
              <a:path w="450" h="414" extrusionOk="0">
                <a:moveTo>
                  <a:pt x="244" y="176"/>
                </a:moveTo>
                <a:lnTo>
                  <a:pt x="200" y="222"/>
                </a:lnTo>
                <a:lnTo>
                  <a:pt x="200" y="354"/>
                </a:lnTo>
                <a:lnTo>
                  <a:pt x="244" y="354"/>
                </a:lnTo>
                <a:lnTo>
                  <a:pt x="244" y="176"/>
                </a:lnTo>
                <a:close/>
                <a:moveTo>
                  <a:pt x="190" y="176"/>
                </a:moveTo>
                <a:lnTo>
                  <a:pt x="184" y="176"/>
                </a:lnTo>
                <a:lnTo>
                  <a:pt x="184" y="176"/>
                </a:lnTo>
                <a:lnTo>
                  <a:pt x="178" y="174"/>
                </a:lnTo>
                <a:lnTo>
                  <a:pt x="176" y="170"/>
                </a:lnTo>
                <a:lnTo>
                  <a:pt x="176" y="144"/>
                </a:lnTo>
                <a:lnTo>
                  <a:pt x="190" y="144"/>
                </a:lnTo>
                <a:lnTo>
                  <a:pt x="254" y="144"/>
                </a:lnTo>
                <a:lnTo>
                  <a:pt x="268" y="144"/>
                </a:lnTo>
                <a:lnTo>
                  <a:pt x="268" y="170"/>
                </a:lnTo>
                <a:lnTo>
                  <a:pt x="268" y="170"/>
                </a:lnTo>
                <a:lnTo>
                  <a:pt x="266" y="174"/>
                </a:lnTo>
                <a:lnTo>
                  <a:pt x="260" y="176"/>
                </a:lnTo>
                <a:lnTo>
                  <a:pt x="254" y="176"/>
                </a:lnTo>
                <a:lnTo>
                  <a:pt x="254" y="354"/>
                </a:lnTo>
                <a:lnTo>
                  <a:pt x="316" y="354"/>
                </a:lnTo>
                <a:lnTo>
                  <a:pt x="316" y="176"/>
                </a:lnTo>
                <a:lnTo>
                  <a:pt x="308" y="176"/>
                </a:lnTo>
                <a:lnTo>
                  <a:pt x="308" y="176"/>
                </a:lnTo>
                <a:lnTo>
                  <a:pt x="304" y="174"/>
                </a:lnTo>
                <a:lnTo>
                  <a:pt x="302" y="170"/>
                </a:lnTo>
                <a:lnTo>
                  <a:pt x="302" y="144"/>
                </a:lnTo>
                <a:lnTo>
                  <a:pt x="316" y="144"/>
                </a:lnTo>
                <a:lnTo>
                  <a:pt x="384" y="144"/>
                </a:lnTo>
                <a:lnTo>
                  <a:pt x="406" y="144"/>
                </a:lnTo>
                <a:lnTo>
                  <a:pt x="406" y="168"/>
                </a:lnTo>
                <a:lnTo>
                  <a:pt x="406" y="168"/>
                </a:lnTo>
                <a:lnTo>
                  <a:pt x="404" y="176"/>
                </a:lnTo>
                <a:lnTo>
                  <a:pt x="402" y="180"/>
                </a:lnTo>
                <a:lnTo>
                  <a:pt x="396" y="184"/>
                </a:lnTo>
                <a:lnTo>
                  <a:pt x="390" y="184"/>
                </a:lnTo>
                <a:lnTo>
                  <a:pt x="388" y="184"/>
                </a:lnTo>
                <a:lnTo>
                  <a:pt x="388" y="354"/>
                </a:lnTo>
                <a:lnTo>
                  <a:pt x="422" y="354"/>
                </a:lnTo>
                <a:lnTo>
                  <a:pt x="422" y="386"/>
                </a:lnTo>
                <a:lnTo>
                  <a:pt x="412" y="386"/>
                </a:lnTo>
                <a:lnTo>
                  <a:pt x="412" y="362"/>
                </a:lnTo>
                <a:lnTo>
                  <a:pt x="384" y="362"/>
                </a:lnTo>
                <a:lnTo>
                  <a:pt x="316" y="362"/>
                </a:lnTo>
                <a:lnTo>
                  <a:pt x="254" y="362"/>
                </a:lnTo>
                <a:lnTo>
                  <a:pt x="190" y="362"/>
                </a:lnTo>
                <a:lnTo>
                  <a:pt x="128" y="362"/>
                </a:lnTo>
                <a:lnTo>
                  <a:pt x="60" y="362"/>
                </a:lnTo>
                <a:lnTo>
                  <a:pt x="36" y="362"/>
                </a:lnTo>
                <a:lnTo>
                  <a:pt x="36" y="386"/>
                </a:lnTo>
                <a:lnTo>
                  <a:pt x="28" y="386"/>
                </a:lnTo>
                <a:lnTo>
                  <a:pt x="28" y="354"/>
                </a:lnTo>
                <a:lnTo>
                  <a:pt x="56" y="354"/>
                </a:lnTo>
                <a:lnTo>
                  <a:pt x="56" y="184"/>
                </a:lnTo>
                <a:lnTo>
                  <a:pt x="54" y="184"/>
                </a:lnTo>
                <a:lnTo>
                  <a:pt x="54" y="184"/>
                </a:lnTo>
                <a:lnTo>
                  <a:pt x="48" y="184"/>
                </a:lnTo>
                <a:lnTo>
                  <a:pt x="42" y="180"/>
                </a:lnTo>
                <a:lnTo>
                  <a:pt x="40" y="176"/>
                </a:lnTo>
                <a:lnTo>
                  <a:pt x="38" y="168"/>
                </a:lnTo>
                <a:lnTo>
                  <a:pt x="38" y="144"/>
                </a:lnTo>
                <a:lnTo>
                  <a:pt x="60" y="144"/>
                </a:lnTo>
                <a:lnTo>
                  <a:pt x="128" y="144"/>
                </a:lnTo>
                <a:lnTo>
                  <a:pt x="142" y="144"/>
                </a:lnTo>
                <a:lnTo>
                  <a:pt x="142" y="170"/>
                </a:lnTo>
                <a:lnTo>
                  <a:pt x="142" y="170"/>
                </a:lnTo>
                <a:lnTo>
                  <a:pt x="140" y="174"/>
                </a:lnTo>
                <a:lnTo>
                  <a:pt x="134" y="176"/>
                </a:lnTo>
                <a:lnTo>
                  <a:pt x="128" y="176"/>
                </a:lnTo>
                <a:lnTo>
                  <a:pt x="128" y="354"/>
                </a:lnTo>
                <a:lnTo>
                  <a:pt x="190" y="354"/>
                </a:lnTo>
                <a:lnTo>
                  <a:pt x="190" y="176"/>
                </a:lnTo>
                <a:close/>
                <a:moveTo>
                  <a:pt x="120" y="178"/>
                </a:moveTo>
                <a:lnTo>
                  <a:pt x="74" y="224"/>
                </a:lnTo>
                <a:lnTo>
                  <a:pt x="74" y="354"/>
                </a:lnTo>
                <a:lnTo>
                  <a:pt x="120" y="354"/>
                </a:lnTo>
                <a:lnTo>
                  <a:pt x="120" y="178"/>
                </a:lnTo>
                <a:close/>
                <a:moveTo>
                  <a:pt x="370" y="354"/>
                </a:moveTo>
                <a:lnTo>
                  <a:pt x="370" y="178"/>
                </a:lnTo>
                <a:lnTo>
                  <a:pt x="324" y="224"/>
                </a:lnTo>
                <a:lnTo>
                  <a:pt x="324" y="354"/>
                </a:lnTo>
                <a:lnTo>
                  <a:pt x="370" y="354"/>
                </a:lnTo>
                <a:close/>
                <a:moveTo>
                  <a:pt x="8" y="396"/>
                </a:moveTo>
                <a:lnTo>
                  <a:pt x="442" y="396"/>
                </a:lnTo>
                <a:lnTo>
                  <a:pt x="442" y="414"/>
                </a:lnTo>
                <a:lnTo>
                  <a:pt x="8" y="414"/>
                </a:lnTo>
                <a:lnTo>
                  <a:pt x="8" y="396"/>
                </a:lnTo>
                <a:close/>
                <a:moveTo>
                  <a:pt x="0" y="96"/>
                </a:moveTo>
                <a:lnTo>
                  <a:pt x="224" y="0"/>
                </a:lnTo>
                <a:lnTo>
                  <a:pt x="450" y="96"/>
                </a:lnTo>
                <a:lnTo>
                  <a:pt x="440" y="134"/>
                </a:lnTo>
                <a:lnTo>
                  <a:pt x="10" y="134"/>
                </a:lnTo>
                <a:lnTo>
                  <a:pt x="0" y="96"/>
                </a:lnTo>
                <a:close/>
                <a:moveTo>
                  <a:pt x="20" y="106"/>
                </a:moveTo>
                <a:lnTo>
                  <a:pt x="24" y="116"/>
                </a:lnTo>
                <a:lnTo>
                  <a:pt x="426" y="116"/>
                </a:lnTo>
                <a:lnTo>
                  <a:pt x="428" y="106"/>
                </a:lnTo>
                <a:lnTo>
                  <a:pt x="224" y="20"/>
                </a:lnTo>
                <a:lnTo>
                  <a:pt x="20" y="106"/>
                </a:lnTo>
                <a:close/>
              </a:path>
            </a:pathLst>
          </a:custGeom>
          <a:solidFill>
            <a:srgbClr val="D32E4A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4" name="Google Shape;584;p58"/>
          <p:cNvCxnSpPr/>
          <p:nvPr/>
        </p:nvCxnSpPr>
        <p:spPr>
          <a:xfrm>
            <a:off x="4571999" y="1122839"/>
            <a:ext cx="0" cy="3142246"/>
          </a:xfrm>
          <a:prstGeom prst="straightConnector1">
            <a:avLst/>
          </a:prstGeom>
          <a:noFill/>
          <a:ln w="9525" cap="flat" cmpd="sng">
            <a:solidFill>
              <a:srgbClr val="D0460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482414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p60"/>
          <p:cNvSpPr txBox="1">
            <a:spLocks noGrp="1"/>
          </p:cNvSpPr>
          <p:nvPr>
            <p:ph type="title"/>
          </p:nvPr>
        </p:nvSpPr>
        <p:spPr>
          <a:xfrm>
            <a:off x="64220" y="65360"/>
            <a:ext cx="8479500" cy="2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en" sz="2200" dirty="0"/>
              <a:t>Envisioned workflow - Scenario 1 (Permanent Trade category)</a:t>
            </a:r>
            <a:endParaRPr sz="2200" dirty="0"/>
          </a:p>
        </p:txBody>
      </p:sp>
      <p:sp>
        <p:nvSpPr>
          <p:cNvPr id="606" name="Google Shape;606;p60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00"/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607" name="Google Shape;607;p60"/>
          <p:cNvSpPr txBox="1"/>
          <p:nvPr/>
        </p:nvSpPr>
        <p:spPr>
          <a:xfrm>
            <a:off x="5673189" y="619231"/>
            <a:ext cx="3318202" cy="3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rader applies for new certificate via the KMC Portal with an option to get the shop registered under Shop &amp; Establishment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license fee is calculated and the demand is generat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der completes the payment and the Certificate of Enlistment (CE) number is generated successfully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application is process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inspection is scheduled by the application and is successfully completed by the Inspector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final authority approves the applic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A transaction is triggered into the blockchain based ledger and the specified data related to the certificate is recorded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transaction is ordered into blocks and the world state is updated for the inform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32 bit transaction/asset hash is sent back to the KMC portal application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457200" marR="0" lvl="0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Georgia"/>
              <a:buAutoNum type="arabicPeriod"/>
            </a:pPr>
            <a:r>
              <a:rPr lang="en" sz="10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he hash is printed in form of QR code into the certificate.</a:t>
            </a:r>
            <a:endParaRPr sz="1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00" b="1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26CC17F-96D8-47E2-9149-C9ED58FE7849}"/>
              </a:ext>
            </a:extLst>
          </p:cNvPr>
          <p:cNvCxnSpPr>
            <a:cxnSpLocks/>
          </p:cNvCxnSpPr>
          <p:nvPr/>
        </p:nvCxnSpPr>
        <p:spPr>
          <a:xfrm>
            <a:off x="5615543" y="779888"/>
            <a:ext cx="24226" cy="3683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CEFAFECA-BD5A-4FDC-9BEB-4527FA310CFA}"/>
              </a:ext>
            </a:extLst>
          </p:cNvPr>
          <p:cNvGrpSpPr/>
          <p:nvPr/>
        </p:nvGrpSpPr>
        <p:grpSpPr>
          <a:xfrm>
            <a:off x="-28468" y="392002"/>
            <a:ext cx="5760757" cy="4810411"/>
            <a:chOff x="357985" y="1268399"/>
            <a:chExt cx="5633941" cy="4671681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7F3D7EA4-651D-475C-889B-6625B0DD542A}"/>
                </a:ext>
              </a:extLst>
            </p:cNvPr>
            <p:cNvCxnSpPr/>
            <p:nvPr/>
          </p:nvCxnSpPr>
          <p:spPr>
            <a:xfrm flipH="1" flipV="1">
              <a:off x="5054321" y="2535743"/>
              <a:ext cx="1" cy="5428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19CF7CA0-74DC-42BD-AE39-743D9A9B5C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57280" y="2073036"/>
              <a:ext cx="947538" cy="944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FAA4F1E-9800-4786-9E36-0FF84564D883}"/>
                </a:ext>
              </a:extLst>
            </p:cNvPr>
            <p:cNvGrpSpPr/>
            <p:nvPr/>
          </p:nvGrpSpPr>
          <p:grpSpPr>
            <a:xfrm>
              <a:off x="357985" y="1268399"/>
              <a:ext cx="5633941" cy="4671681"/>
              <a:chOff x="3705274" y="501855"/>
              <a:chExt cx="5633941" cy="4671681"/>
            </a:xfrm>
          </p:grpSpPr>
          <p:pic>
            <p:nvPicPr>
              <p:cNvPr id="7" name="Graphic 6" descr="Male profile with solid fill">
                <a:extLst>
                  <a:ext uri="{FF2B5EF4-FFF2-40B4-BE49-F238E27FC236}">
                    <a16:creationId xmlns:a16="http://schemas.microsoft.com/office/drawing/2014/main" id="{AA285C8C-C6E0-45AC-88FA-4BD8C8AD8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312020" y="3744538"/>
                <a:ext cx="680037" cy="474891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EC929F9-DF66-4D9A-B7A5-DE0E7F1E53A6}"/>
                  </a:ext>
                </a:extLst>
              </p:cNvPr>
              <p:cNvSpPr txBox="1"/>
              <p:nvPr/>
            </p:nvSpPr>
            <p:spPr>
              <a:xfrm>
                <a:off x="3869871" y="4264194"/>
                <a:ext cx="156433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CE Application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Trader applies for new CE via KMC portal;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Supporting documents are submitted and Trade category and sub-category are selected;</a:t>
                </a:r>
              </a:p>
            </p:txBody>
          </p:sp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A7CDBB4A-7565-4E16-8D6B-EB4465DE68F4}"/>
                  </a:ext>
                </a:extLst>
              </p:cNvPr>
              <p:cNvCxnSpPr/>
              <p:nvPr/>
            </p:nvCxnSpPr>
            <p:spPr>
              <a:xfrm>
                <a:off x="5040725" y="3975953"/>
                <a:ext cx="614723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3" name="Graphic 12" descr="Server with solid fill">
                <a:extLst>
                  <a:ext uri="{FF2B5EF4-FFF2-40B4-BE49-F238E27FC236}">
                    <a16:creationId xmlns:a16="http://schemas.microsoft.com/office/drawing/2014/main" id="{37800F4F-3BBA-4173-981C-CE29AB92D1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68220" y="3744538"/>
                <a:ext cx="739108" cy="474892"/>
              </a:xfrm>
              <a:prstGeom prst="rect">
                <a:avLst/>
              </a:prstGeom>
            </p:spPr>
          </p:pic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57E1CB8-8BF5-4AAF-A089-92E1FEEF047C}"/>
                  </a:ext>
                </a:extLst>
              </p:cNvPr>
              <p:cNvSpPr txBox="1"/>
              <p:nvPr/>
            </p:nvSpPr>
            <p:spPr>
              <a:xfrm>
                <a:off x="5569937" y="2931798"/>
                <a:ext cx="1548466" cy="8070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Fee computation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System computes license fee based on business type and validity period of issued certificate;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Demand is generated;</a:t>
                </a:r>
              </a:p>
            </p:txBody>
          </p:sp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53E7B246-6DC2-4F85-998C-6885C8A94E20}"/>
                  </a:ext>
                </a:extLst>
              </p:cNvPr>
              <p:cNvCxnSpPr/>
              <p:nvPr/>
            </p:nvCxnSpPr>
            <p:spPr>
              <a:xfrm>
                <a:off x="7180860" y="3975953"/>
                <a:ext cx="614723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5" name="Graphic 14" descr="Checkmark with solid fill">
                <a:extLst>
                  <a:ext uri="{FF2B5EF4-FFF2-40B4-BE49-F238E27FC236}">
                    <a16:creationId xmlns:a16="http://schemas.microsoft.com/office/drawing/2014/main" id="{0A6D2848-B9D4-4C3F-A766-698C74EDA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8072712" y="3732486"/>
                <a:ext cx="652989" cy="418451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14FC9A1-F368-4CC2-B136-CC01BEDBF8CA}"/>
                  </a:ext>
                </a:extLst>
              </p:cNvPr>
              <p:cNvSpPr txBox="1"/>
              <p:nvPr/>
            </p:nvSpPr>
            <p:spPr>
              <a:xfrm>
                <a:off x="7617038" y="4219429"/>
                <a:ext cx="1564336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Payment completion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Trader completes the payment and CE number is generated in an e-Receipt with QR code;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Application processing is initiated.</a:t>
                </a:r>
              </a:p>
              <a:p>
                <a:endParaRPr lang="en-US" sz="800">
                  <a:latin typeface="Georgia" panose="02040502050405020303" pitchFamily="18" charset="0"/>
                </a:endParaRPr>
              </a:p>
            </p:txBody>
          </p: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5EE611AD-A3D4-4986-A6E9-7911D470313F}"/>
                  </a:ext>
                </a:extLst>
              </p:cNvPr>
              <p:cNvCxnSpPr>
                <a:stCxn id="15" idx="0"/>
              </p:cNvCxnSpPr>
              <p:nvPr/>
            </p:nvCxnSpPr>
            <p:spPr>
              <a:xfrm flipH="1" flipV="1">
                <a:off x="8399206" y="3189667"/>
                <a:ext cx="1" cy="54281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2" name="Graphic 21" descr="Checklist with solid fill">
                <a:extLst>
                  <a:ext uri="{FF2B5EF4-FFF2-40B4-BE49-F238E27FC236}">
                    <a16:creationId xmlns:a16="http://schemas.microsoft.com/office/drawing/2014/main" id="{1780080B-791F-4B22-B8FF-77D880FBC8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072712" y="2432010"/>
                <a:ext cx="709366" cy="647849"/>
              </a:xfrm>
              <a:prstGeom prst="rect">
                <a:avLst/>
              </a:prstGeom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026178A-1870-407C-AD1C-C38525CF773D}"/>
                  </a:ext>
                </a:extLst>
              </p:cNvPr>
              <p:cNvSpPr txBox="1"/>
              <p:nvPr/>
            </p:nvSpPr>
            <p:spPr>
              <a:xfrm>
                <a:off x="7216406" y="2238614"/>
                <a:ext cx="1182151" cy="1285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Inspection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License Inspector reviews the application and schedules an inspection;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Inspector can approve, reject or send the application to higher authority;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EDA513E-5EFE-4BA7-B2FF-548C6A0E6729}"/>
                  </a:ext>
                </a:extLst>
              </p:cNvPr>
              <p:cNvSpPr txBox="1"/>
              <p:nvPr/>
            </p:nvSpPr>
            <p:spPr>
              <a:xfrm>
                <a:off x="8394852" y="1791011"/>
                <a:ext cx="80881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>
                    <a:latin typeface="Georgia" panose="02040502050405020303" pitchFamily="18" charset="0"/>
                  </a:rPr>
                  <a:t>Transaction sent to higher authority for approval;</a:t>
                </a:r>
              </a:p>
            </p:txBody>
          </p:sp>
          <p:pic>
            <p:nvPicPr>
              <p:cNvPr id="24" name="Graphic 23" descr="Office worker male with solid fill">
                <a:extLst>
                  <a:ext uri="{FF2B5EF4-FFF2-40B4-BE49-F238E27FC236}">
                    <a16:creationId xmlns:a16="http://schemas.microsoft.com/office/drawing/2014/main" id="{B247F2C6-2621-4628-8CB6-AD26E2C12D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080173" y="1021546"/>
                <a:ext cx="677628" cy="584775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C0F7E19-4678-40E8-AD8F-718D3178ED4B}"/>
                  </a:ext>
                </a:extLst>
              </p:cNvPr>
              <p:cNvSpPr txBox="1"/>
              <p:nvPr/>
            </p:nvSpPr>
            <p:spPr>
              <a:xfrm>
                <a:off x="7774879" y="581562"/>
                <a:ext cx="156433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>
                    <a:latin typeface="Georgia" panose="02040502050405020303" pitchFamily="18" charset="0"/>
                  </a:rPr>
                  <a:t>Inspection</a:t>
                </a:r>
              </a:p>
              <a:p>
                <a:r>
                  <a:rPr lang="en-US" sz="800">
                    <a:latin typeface="Georgia" panose="02040502050405020303" pitchFamily="18" charset="0"/>
                  </a:rPr>
                  <a:t>Final authority can accept or reject the application;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C9D4DEC-0EB3-4BCE-A2E2-0828D73FB2B3}"/>
                  </a:ext>
                </a:extLst>
              </p:cNvPr>
              <p:cNvSpPr txBox="1"/>
              <p:nvPr/>
            </p:nvSpPr>
            <p:spPr>
              <a:xfrm>
                <a:off x="7005132" y="890745"/>
                <a:ext cx="100484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>
                    <a:latin typeface="Georgia" panose="02040502050405020303" pitchFamily="18" charset="0"/>
                  </a:rPr>
                  <a:t>Final authority approves application;</a:t>
                </a:r>
              </a:p>
            </p:txBody>
          </p:sp>
          <p:pic>
            <p:nvPicPr>
              <p:cNvPr id="32" name="Graphic 31" descr="Blockchain with solid fill">
                <a:extLst>
                  <a:ext uri="{FF2B5EF4-FFF2-40B4-BE49-F238E27FC236}">
                    <a16:creationId xmlns:a16="http://schemas.microsoft.com/office/drawing/2014/main" id="{920CB8F8-F307-4EE6-A652-40CF32E712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976586" y="1023947"/>
                <a:ext cx="830941" cy="621521"/>
              </a:xfrm>
              <a:prstGeom prst="rect">
                <a:avLst/>
              </a:prstGeom>
            </p:spPr>
          </p:pic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1057620-66F6-44A1-9101-1217EAB396AC}"/>
                  </a:ext>
                </a:extLst>
              </p:cNvPr>
              <p:cNvSpPr txBox="1"/>
              <p:nvPr/>
            </p:nvSpPr>
            <p:spPr>
              <a:xfrm>
                <a:off x="5380713" y="1592827"/>
                <a:ext cx="1936900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 dirty="0">
                    <a:latin typeface="Georgia" panose="02040502050405020303" pitchFamily="18" charset="0"/>
                  </a:rPr>
                  <a:t>Blockchain ledger update</a:t>
                </a:r>
              </a:p>
              <a:p>
                <a:r>
                  <a:rPr lang="en-US" sz="800" dirty="0">
                    <a:latin typeface="Georgia" panose="02040502050405020303" pitchFamily="18" charset="0"/>
                  </a:rPr>
                  <a:t>Transaction triggered into blockchain;</a:t>
                </a:r>
              </a:p>
              <a:p>
                <a:r>
                  <a:rPr lang="en-US" sz="800" dirty="0">
                    <a:latin typeface="Georgia" panose="02040502050405020303" pitchFamily="18" charset="0"/>
                  </a:rPr>
                  <a:t>Specified data related to certificate is recorded immutably;</a:t>
                </a:r>
              </a:p>
              <a:p>
                <a:r>
                  <a:rPr lang="en-US" sz="800" dirty="0">
                    <a:latin typeface="Georgia" panose="02040502050405020303" pitchFamily="18" charset="0"/>
                  </a:rPr>
                  <a:t>Transaction ordered into blocks;</a:t>
                </a:r>
              </a:p>
            </p:txBody>
          </p: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541CDA4F-7B2A-4291-B90C-63C8210EE0BC}"/>
                  </a:ext>
                </a:extLst>
              </p:cNvPr>
              <p:cNvCxnSpPr/>
              <p:nvPr/>
            </p:nvCxnSpPr>
            <p:spPr>
              <a:xfrm flipH="1">
                <a:off x="4832867" y="1385249"/>
                <a:ext cx="947537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9" name="Graphic 38" descr="Internet with solid fill">
                <a:extLst>
                  <a:ext uri="{FF2B5EF4-FFF2-40B4-BE49-F238E27FC236}">
                    <a16:creationId xmlns:a16="http://schemas.microsoft.com/office/drawing/2014/main" id="{44DDDBA4-3069-4C57-A470-F437C37BD8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3931405" y="1094014"/>
                <a:ext cx="739105" cy="607778"/>
              </a:xfrm>
              <a:prstGeom prst="rect">
                <a:avLst/>
              </a:prstGeom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7A0F90C-D8CA-4CC5-86B9-CB49B766787D}"/>
                  </a:ext>
                </a:extLst>
              </p:cNvPr>
              <p:cNvSpPr txBox="1"/>
              <p:nvPr/>
            </p:nvSpPr>
            <p:spPr>
              <a:xfrm>
                <a:off x="3705274" y="501855"/>
                <a:ext cx="1478218" cy="687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 dirty="0">
                    <a:latin typeface="Georgia" panose="02040502050405020303" pitchFamily="18" charset="0"/>
                  </a:rPr>
                  <a:t>Hash in certificate</a:t>
                </a:r>
              </a:p>
              <a:p>
                <a:r>
                  <a:rPr lang="en-US" sz="800" dirty="0">
                    <a:latin typeface="Georgia" panose="02040502050405020303" pitchFamily="18" charset="0"/>
                  </a:rPr>
                  <a:t>Transaction hash sent back to KMC portal;</a:t>
                </a:r>
              </a:p>
              <a:p>
                <a:r>
                  <a:rPr lang="en-US" sz="800" dirty="0">
                    <a:latin typeface="Georgia" panose="02040502050405020303" pitchFamily="18" charset="0"/>
                  </a:rPr>
                  <a:t>Hash is printed in form of QR code into the certificate;</a:t>
                </a:r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3.xml><?xml version="1.0" encoding="utf-8"?>
<a:theme xmlns:a="http://schemas.openxmlformats.org/drawingml/2006/main" name="1_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283BF74201E4DB7F7AA7012D87FB6" ma:contentTypeVersion="7" ma:contentTypeDescription="Create a new document." ma:contentTypeScope="" ma:versionID="cc429c939016bc2c7d608682c530298f">
  <xsd:schema xmlns:xsd="http://www.w3.org/2001/XMLSchema" xmlns:xs="http://www.w3.org/2001/XMLSchema" xmlns:p="http://schemas.microsoft.com/office/2006/metadata/properties" xmlns:ns3="71c59e5d-a81b-4669-8f5b-082baa8b6baf" xmlns:ns4="b58458b9-99de-48bd-b15c-ed9ebb8ca106" targetNamespace="http://schemas.microsoft.com/office/2006/metadata/properties" ma:root="true" ma:fieldsID="c0339d7d0fc51ec55a154b1d5050d845" ns3:_="" ns4:_="">
    <xsd:import namespace="71c59e5d-a81b-4669-8f5b-082baa8b6baf"/>
    <xsd:import namespace="b58458b9-99de-48bd-b15c-ed9ebb8ca10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9e5d-a81b-4669-8f5b-082baa8b6b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458b9-99de-48bd-b15c-ed9ebb8ca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EA4DE7-A216-4A9D-8351-273163249A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F3EFB3-13E3-41B3-A5C2-41887B5BC4BA}">
  <ds:schemaRefs>
    <ds:schemaRef ds:uri="71c59e5d-a81b-4669-8f5b-082baa8b6baf"/>
    <ds:schemaRef ds:uri="b58458b9-99de-48bd-b15c-ed9ebb8ca10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733A1BE-C2EF-4DD1-A062-2EE43B437FF6}">
  <ds:schemaRefs>
    <ds:schemaRef ds:uri="71c59e5d-a81b-4669-8f5b-082baa8b6baf"/>
    <ds:schemaRef ds:uri="b58458b9-99de-48bd-b15c-ed9ebb8ca1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3166</Words>
  <Application>Microsoft Office PowerPoint</Application>
  <PresentationFormat>On-screen Show (16:9)</PresentationFormat>
  <Paragraphs>392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Georgia</vt:lpstr>
      <vt:lpstr>Noto Sans Symbols,Sans-Serif</vt:lpstr>
      <vt:lpstr>Times New Roman</vt:lpstr>
      <vt:lpstr>Wingdings</vt:lpstr>
      <vt:lpstr>PwC</vt:lpstr>
      <vt:lpstr>PwC Smart</vt:lpstr>
      <vt:lpstr>1_PwC Smart</vt:lpstr>
      <vt:lpstr>think-cell Slide</vt:lpstr>
      <vt:lpstr>Blockchain based license management system for KMC</vt:lpstr>
      <vt:lpstr>What is Blockchain?</vt:lpstr>
      <vt:lpstr>A snapshot of how Blockchain works…</vt:lpstr>
      <vt:lpstr>Types of Blockchain</vt:lpstr>
      <vt:lpstr>Blockchain Advantages over Traditional Database</vt:lpstr>
      <vt:lpstr>PowerPoint Presentation</vt:lpstr>
      <vt:lpstr>Blockchain based license management</vt:lpstr>
      <vt:lpstr>Advantages of using blockchain based ledger </vt:lpstr>
      <vt:lpstr>Envisioned workflow - Scenario 1 (Permanent Trade category)</vt:lpstr>
      <vt:lpstr>Envisioned workflow - Scenario 2(Online application - Ceremonial house)</vt:lpstr>
      <vt:lpstr>Envisioned workflow - Scenario 3 (Permanent trade category restricted for online application)</vt:lpstr>
      <vt:lpstr>Envisioned workflow - Scenario 4 (Spot registration through Bailiff)</vt:lpstr>
      <vt:lpstr>Envisioned workflow - Scenario 5 (Renewal of certificate of enlistment – through bulk demand generation)</vt:lpstr>
      <vt:lpstr>Envisioned workflow - Scenario 6 (Verification workflow)</vt:lpstr>
      <vt:lpstr>Software/Hardware requirement</vt:lpstr>
      <vt:lpstr>High level system Architec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ockchain based license management system for KMC</dc:title>
  <dc:creator>Nirupam Sarkar</dc:creator>
  <cp:lastModifiedBy>Nirupam Sarkar (IN)</cp:lastModifiedBy>
  <cp:revision>11</cp:revision>
  <dcterms:modified xsi:type="dcterms:W3CDTF">2022-02-03T05:4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283BF74201E4DB7F7AA7012D87FB6</vt:lpwstr>
  </property>
</Properties>
</file>